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0" r:id="rId4"/>
  </p:sldMasterIdLst>
  <p:notesMasterIdLst>
    <p:notesMasterId r:id="rId13"/>
  </p:notesMasterIdLst>
  <p:handoutMasterIdLst>
    <p:handoutMasterId r:id="rId14"/>
  </p:handoutMasterIdLst>
  <p:sldIdLst>
    <p:sldId id="2004" r:id="rId5"/>
    <p:sldId id="4359" r:id="rId6"/>
    <p:sldId id="4360" r:id="rId7"/>
    <p:sldId id="4361" r:id="rId8"/>
    <p:sldId id="4362" r:id="rId9"/>
    <p:sldId id="4365" r:id="rId10"/>
    <p:sldId id="4366" r:id="rId11"/>
    <p:sldId id="1471" r:id="rId12"/>
  </p:sldIdLst>
  <p:sldSz cx="12192000" cy="6858000"/>
  <p:notesSz cx="6881813" cy="9296400"/>
  <p:custDataLst>
    <p:tags r:id="rId1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25" userDrawn="1">
          <p15:clr>
            <a:srgbClr val="A4A3A4"/>
          </p15:clr>
        </p15:guide>
        <p15:guide id="3" pos="1753" userDrawn="1">
          <p15:clr>
            <a:srgbClr val="A4A3A4"/>
          </p15:clr>
        </p15:guide>
        <p15:guide id="4" pos="3976" userDrawn="1">
          <p15:clr>
            <a:srgbClr val="A4A3A4"/>
          </p15:clr>
        </p15:guide>
        <p15:guide id="7" orient="horz" pos="3475" userDrawn="1">
          <p15:clr>
            <a:srgbClr val="A4A3A4"/>
          </p15:clr>
        </p15:guide>
        <p15:guide id="8" orient="horz" pos="52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16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cisco Perdomo Lorenzo" initials="FPL" lastIdx="21" clrIdx="0"/>
  <p:cmAuthor id="2" name="Ronny Quintero Leguisano" initials="RQL" lastIdx="3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DEE3"/>
    <a:srgbClr val="FAFAFB"/>
    <a:srgbClr val="7F7F7F"/>
    <a:srgbClr val="3A4450"/>
    <a:srgbClr val="EDEBE9"/>
    <a:srgbClr val="FFC400"/>
    <a:srgbClr val="BF051A"/>
    <a:srgbClr val="FAB41E"/>
    <a:srgbClr val="DADFE3"/>
    <a:srgbClr val="F0F2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7FB55A-6374-4A43-8322-69754AC5D7DC}" v="74" dt="2025-10-08T07:19:09.909"/>
    <p1510:client id="{1FC5B9FA-E64D-4F4E-8F09-84A02C85ABA6}" v="757" dt="2025-10-07T16:31:27.316"/>
    <p1510:client id="{543EF0E5-76A2-47B1-B350-BAA1E54646D6}" v="81" dt="2025-10-08T06:34:31.573"/>
    <p1510:client id="{A8C9D707-AC94-06AC-EF4E-7B6FC601D9A5}" v="156" dt="2025-10-08T06:56:22.511"/>
    <p1510:client id="{C6A549E7-7A53-D45D-9C83-43C38FDEE201}" v="12" dt="2025-10-08T06:58:06.5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7" d="100"/>
          <a:sy n="67" d="100"/>
        </p:scale>
        <p:origin x="834" y="54"/>
      </p:cViewPr>
      <p:guideLst>
        <p:guide pos="325"/>
        <p:guide pos="1753"/>
        <p:guide pos="3976"/>
        <p:guide orient="horz" pos="3475"/>
        <p:guide orient="horz" pos="52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928"/>
        <p:guide pos="216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Óscar Palomo Díaz" userId="d3c55112-9a8d-4689-970a-c1931af4e0c7" providerId="ADAL" clId="{1FC5B9FA-E64D-4F4E-8F09-84A02C85ABA6}"/>
    <pc:docChg chg="undo redo custSel addSld delSld modSld modMainMaster">
      <pc:chgData name="Óscar Palomo Díaz" userId="d3c55112-9a8d-4689-970a-c1931af4e0c7" providerId="ADAL" clId="{1FC5B9FA-E64D-4F4E-8F09-84A02C85ABA6}" dt="2025-10-07T16:41:38.951" v="3133" actId="114"/>
      <pc:docMkLst>
        <pc:docMk/>
      </pc:docMkLst>
      <pc:sldChg chg="modSp mod">
        <pc:chgData name="Óscar Palomo Díaz" userId="d3c55112-9a8d-4689-970a-c1931af4e0c7" providerId="ADAL" clId="{1FC5B9FA-E64D-4F4E-8F09-84A02C85ABA6}" dt="2025-10-07T15:48:20.203" v="525" actId="20577"/>
        <pc:sldMkLst>
          <pc:docMk/>
          <pc:sldMk cId="2570093233" sldId="1471"/>
        </pc:sldMkLst>
        <pc:spChg chg="mod">
          <ac:chgData name="Óscar Palomo Díaz" userId="d3c55112-9a8d-4689-970a-c1931af4e0c7" providerId="ADAL" clId="{1FC5B9FA-E64D-4F4E-8F09-84A02C85ABA6}" dt="2025-10-07T15:48:20.203" v="525" actId="20577"/>
          <ac:spMkLst>
            <pc:docMk/>
            <pc:sldMk cId="2570093233" sldId="1471"/>
            <ac:spMk id="4" creationId="{9924A9E7-E156-89E8-A90E-DBE3B1D88B05}"/>
          </ac:spMkLst>
        </pc:spChg>
      </pc:sldChg>
      <pc:sldChg chg="addSp delSp modSp mod">
        <pc:chgData name="Óscar Palomo Díaz" userId="d3c55112-9a8d-4689-970a-c1931af4e0c7" providerId="ADAL" clId="{1FC5B9FA-E64D-4F4E-8F09-84A02C85ABA6}" dt="2025-10-07T15:41:55.952" v="379" actId="478"/>
        <pc:sldMkLst>
          <pc:docMk/>
          <pc:sldMk cId="429482159" sldId="2004"/>
        </pc:sldMkLst>
        <pc:spChg chg="mod">
          <ac:chgData name="Óscar Palomo Díaz" userId="d3c55112-9a8d-4689-970a-c1931af4e0c7" providerId="ADAL" clId="{1FC5B9FA-E64D-4F4E-8F09-84A02C85ABA6}" dt="2025-10-07T15:38:48.808" v="321" actId="6549"/>
          <ac:spMkLst>
            <pc:docMk/>
            <pc:sldMk cId="429482159" sldId="2004"/>
            <ac:spMk id="11" creationId="{9515264F-6B4F-CBE4-F20F-F82821737364}"/>
          </ac:spMkLst>
        </pc:spChg>
        <pc:picChg chg="add del mod">
          <ac:chgData name="Óscar Palomo Díaz" userId="d3c55112-9a8d-4689-970a-c1931af4e0c7" providerId="ADAL" clId="{1FC5B9FA-E64D-4F4E-8F09-84A02C85ABA6}" dt="2025-10-07T15:41:55.952" v="379" actId="478"/>
          <ac:picMkLst>
            <pc:docMk/>
            <pc:sldMk cId="429482159" sldId="2004"/>
            <ac:picMk id="3" creationId="{EED621F4-876E-91BB-3C2A-D647DE7AEFB3}"/>
          </ac:picMkLst>
        </pc:picChg>
        <pc:picChg chg="add del mod">
          <ac:chgData name="Óscar Palomo Díaz" userId="d3c55112-9a8d-4689-970a-c1931af4e0c7" providerId="ADAL" clId="{1FC5B9FA-E64D-4F4E-8F09-84A02C85ABA6}" dt="2025-10-07T15:41:55.952" v="379" actId="478"/>
          <ac:picMkLst>
            <pc:docMk/>
            <pc:sldMk cId="429482159" sldId="2004"/>
            <ac:picMk id="5" creationId="{3BD2C02F-6492-BC00-CF18-82E191A6D058}"/>
          </ac:picMkLst>
        </pc:picChg>
      </pc:sldChg>
      <pc:sldChg chg="addSp delSp modSp mod">
        <pc:chgData name="Óscar Palomo Díaz" userId="d3c55112-9a8d-4689-970a-c1931af4e0c7" providerId="ADAL" clId="{1FC5B9FA-E64D-4F4E-8F09-84A02C85ABA6}" dt="2025-10-07T16:23:28.217" v="2319" actId="20577"/>
        <pc:sldMkLst>
          <pc:docMk/>
          <pc:sldMk cId="146231439" sldId="4359"/>
        </pc:sldMkLst>
        <pc:spChg chg="mod">
          <ac:chgData name="Óscar Palomo Díaz" userId="d3c55112-9a8d-4689-970a-c1931af4e0c7" providerId="ADAL" clId="{1FC5B9FA-E64D-4F4E-8F09-84A02C85ABA6}" dt="2025-10-07T15:54:32.066" v="691" actId="1076"/>
          <ac:spMkLst>
            <pc:docMk/>
            <pc:sldMk cId="146231439" sldId="4359"/>
            <ac:spMk id="8" creationId="{D86EADF8-684A-19D9-C2C1-DE06235B1850}"/>
          </ac:spMkLst>
        </pc:spChg>
        <pc:spChg chg="mod">
          <ac:chgData name="Óscar Palomo Díaz" userId="d3c55112-9a8d-4689-970a-c1931af4e0c7" providerId="ADAL" clId="{1FC5B9FA-E64D-4F4E-8F09-84A02C85ABA6}" dt="2025-10-07T16:23:28.217" v="2319" actId="20577"/>
          <ac:spMkLst>
            <pc:docMk/>
            <pc:sldMk cId="146231439" sldId="4359"/>
            <ac:spMk id="9" creationId="{C506CB58-BCE2-9B55-4C01-BF0E4723650C}"/>
          </ac:spMkLst>
        </pc:spChg>
        <pc:spChg chg="add del mod">
          <ac:chgData name="Óscar Palomo Díaz" userId="d3c55112-9a8d-4689-970a-c1931af4e0c7" providerId="ADAL" clId="{1FC5B9FA-E64D-4F4E-8F09-84A02C85ABA6}" dt="2025-10-07T15:42:15.925" v="388" actId="14100"/>
          <ac:spMkLst>
            <pc:docMk/>
            <pc:sldMk cId="146231439" sldId="4359"/>
            <ac:spMk id="10" creationId="{37155FF9-ABEF-8EA8-652E-FA2E740BC94E}"/>
          </ac:spMkLst>
        </pc:spChg>
        <pc:spChg chg="mod">
          <ac:chgData name="Óscar Palomo Díaz" userId="d3c55112-9a8d-4689-970a-c1931af4e0c7" providerId="ADAL" clId="{1FC5B9FA-E64D-4F4E-8F09-84A02C85ABA6}" dt="2025-10-07T15:55:23.707" v="705" actId="6549"/>
          <ac:spMkLst>
            <pc:docMk/>
            <pc:sldMk cId="146231439" sldId="4359"/>
            <ac:spMk id="21" creationId="{D4E385E7-4352-DDF0-1BB0-A001C6CE6C6E}"/>
          </ac:spMkLst>
        </pc:spChg>
        <pc:spChg chg="mod">
          <ac:chgData name="Óscar Palomo Díaz" userId="d3c55112-9a8d-4689-970a-c1931af4e0c7" providerId="ADAL" clId="{1FC5B9FA-E64D-4F4E-8F09-84A02C85ABA6}" dt="2025-10-07T15:53:54.341" v="680" actId="1037"/>
          <ac:spMkLst>
            <pc:docMk/>
            <pc:sldMk cId="146231439" sldId="4359"/>
            <ac:spMk id="23" creationId="{7A287A59-7287-E27A-ECBD-59E749F86C21}"/>
          </ac:spMkLst>
        </pc:spChg>
        <pc:spChg chg="mod">
          <ac:chgData name="Óscar Palomo Díaz" userId="d3c55112-9a8d-4689-970a-c1931af4e0c7" providerId="ADAL" clId="{1FC5B9FA-E64D-4F4E-8F09-84A02C85ABA6}" dt="2025-10-07T15:53:59.814" v="681" actId="1076"/>
          <ac:spMkLst>
            <pc:docMk/>
            <pc:sldMk cId="146231439" sldId="4359"/>
            <ac:spMk id="31" creationId="{AF38E1B7-16A4-91B2-0AD5-0F550C61A115}"/>
          </ac:spMkLst>
        </pc:spChg>
        <pc:spChg chg="mod">
          <ac:chgData name="Óscar Palomo Díaz" userId="d3c55112-9a8d-4689-970a-c1931af4e0c7" providerId="ADAL" clId="{1FC5B9FA-E64D-4F4E-8F09-84A02C85ABA6}" dt="2025-10-07T15:54:03.377" v="682" actId="1076"/>
          <ac:spMkLst>
            <pc:docMk/>
            <pc:sldMk cId="146231439" sldId="4359"/>
            <ac:spMk id="34" creationId="{79B489C1-7EDA-0C90-F77F-2296BEE22760}"/>
          </ac:spMkLst>
        </pc:spChg>
        <pc:grpChg chg="mod ord">
          <ac:chgData name="Óscar Palomo Díaz" userId="d3c55112-9a8d-4689-970a-c1931af4e0c7" providerId="ADAL" clId="{1FC5B9FA-E64D-4F4E-8F09-84A02C85ABA6}" dt="2025-10-07T15:55:34.991" v="709" actId="1036"/>
          <ac:grpSpMkLst>
            <pc:docMk/>
            <pc:sldMk cId="146231439" sldId="4359"/>
            <ac:grpSpMk id="28" creationId="{22D5FEF0-09B3-C6D6-3BDA-23BC360FF826}"/>
          </ac:grpSpMkLst>
        </pc:grpChg>
        <pc:picChg chg="add mod">
          <ac:chgData name="Óscar Palomo Díaz" userId="d3c55112-9a8d-4689-970a-c1931af4e0c7" providerId="ADAL" clId="{1FC5B9FA-E64D-4F4E-8F09-84A02C85ABA6}" dt="2025-10-07T15:39:41.943" v="322"/>
          <ac:picMkLst>
            <pc:docMk/>
            <pc:sldMk cId="146231439" sldId="4359"/>
            <ac:picMk id="3" creationId="{657CF209-8AFB-7B38-8B38-D9C1FA677707}"/>
          </ac:picMkLst>
        </pc:picChg>
        <pc:picChg chg="add mod">
          <ac:chgData name="Óscar Palomo Díaz" userId="d3c55112-9a8d-4689-970a-c1931af4e0c7" providerId="ADAL" clId="{1FC5B9FA-E64D-4F4E-8F09-84A02C85ABA6}" dt="2025-10-07T15:39:41.943" v="322"/>
          <ac:picMkLst>
            <pc:docMk/>
            <pc:sldMk cId="146231439" sldId="4359"/>
            <ac:picMk id="4" creationId="{029C5ED4-D51A-9003-C8CE-663A9A93DBBF}"/>
          </ac:picMkLst>
        </pc:picChg>
        <pc:picChg chg="add del mod">
          <ac:chgData name="Óscar Palomo Díaz" userId="d3c55112-9a8d-4689-970a-c1931af4e0c7" providerId="ADAL" clId="{1FC5B9FA-E64D-4F4E-8F09-84A02C85ABA6}" dt="2025-10-07T15:42:00.479" v="380" actId="478"/>
          <ac:picMkLst>
            <pc:docMk/>
            <pc:sldMk cId="146231439" sldId="4359"/>
            <ac:picMk id="5" creationId="{9E67BE03-2C80-2A39-6B45-1584A9F1C087}"/>
          </ac:picMkLst>
        </pc:picChg>
        <pc:picChg chg="add del mod">
          <ac:chgData name="Óscar Palomo Díaz" userId="d3c55112-9a8d-4689-970a-c1931af4e0c7" providerId="ADAL" clId="{1FC5B9FA-E64D-4F4E-8F09-84A02C85ABA6}" dt="2025-10-07T15:42:00.479" v="380" actId="478"/>
          <ac:picMkLst>
            <pc:docMk/>
            <pc:sldMk cId="146231439" sldId="4359"/>
            <ac:picMk id="7" creationId="{D8E7DF5A-3C4D-E34C-80BE-E7A98ECC8123}"/>
          </ac:picMkLst>
        </pc:picChg>
        <pc:picChg chg="add del mod">
          <ac:chgData name="Óscar Palomo Díaz" userId="d3c55112-9a8d-4689-970a-c1931af4e0c7" providerId="ADAL" clId="{1FC5B9FA-E64D-4F4E-8F09-84A02C85ABA6}" dt="2025-10-07T15:50:38.804" v="573" actId="14100"/>
          <ac:picMkLst>
            <pc:docMk/>
            <pc:sldMk cId="146231439" sldId="4359"/>
            <ac:picMk id="32" creationId="{FCBAB40D-562E-1AC8-9BD6-F5C0BCF8ABE4}"/>
          </ac:picMkLst>
        </pc:picChg>
        <pc:picChg chg="mod">
          <ac:chgData name="Óscar Palomo Díaz" userId="d3c55112-9a8d-4689-970a-c1931af4e0c7" providerId="ADAL" clId="{1FC5B9FA-E64D-4F4E-8F09-84A02C85ABA6}" dt="2025-10-07T15:55:32.569" v="707" actId="1076"/>
          <ac:picMkLst>
            <pc:docMk/>
            <pc:sldMk cId="146231439" sldId="4359"/>
            <ac:picMk id="35" creationId="{20838284-7928-3E48-93DF-F02A0258770D}"/>
          </ac:picMkLst>
        </pc:picChg>
        <pc:picChg chg="mod">
          <ac:chgData name="Óscar Palomo Díaz" userId="d3c55112-9a8d-4689-970a-c1931af4e0c7" providerId="ADAL" clId="{1FC5B9FA-E64D-4F4E-8F09-84A02C85ABA6}" dt="2025-10-07T15:55:28.721" v="706" actId="1076"/>
          <ac:picMkLst>
            <pc:docMk/>
            <pc:sldMk cId="146231439" sldId="4359"/>
            <ac:picMk id="36" creationId="{73DE33D9-7F6F-25C4-39EB-394B5FA40520}"/>
          </ac:picMkLst>
        </pc:picChg>
        <pc:picChg chg="mod">
          <ac:chgData name="Óscar Palomo Díaz" userId="d3c55112-9a8d-4689-970a-c1931af4e0c7" providerId="ADAL" clId="{1FC5B9FA-E64D-4F4E-8F09-84A02C85ABA6}" dt="2025-10-07T15:53:59.814" v="681" actId="1076"/>
          <ac:picMkLst>
            <pc:docMk/>
            <pc:sldMk cId="146231439" sldId="4359"/>
            <ac:picMk id="37" creationId="{B094CE9F-CE43-D29E-B1C6-D968E9DF8FD2}"/>
          </ac:picMkLst>
        </pc:picChg>
        <pc:picChg chg="mod">
          <ac:chgData name="Óscar Palomo Díaz" userId="d3c55112-9a8d-4689-970a-c1931af4e0c7" providerId="ADAL" clId="{1FC5B9FA-E64D-4F4E-8F09-84A02C85ABA6}" dt="2025-10-07T15:54:03.377" v="682" actId="1076"/>
          <ac:picMkLst>
            <pc:docMk/>
            <pc:sldMk cId="146231439" sldId="4359"/>
            <ac:picMk id="38" creationId="{8E20E425-3528-04DA-E786-DA26ED14638C}"/>
          </ac:picMkLst>
        </pc:picChg>
        <pc:picChg chg="mod">
          <ac:chgData name="Óscar Palomo Díaz" userId="d3c55112-9a8d-4689-970a-c1931af4e0c7" providerId="ADAL" clId="{1FC5B9FA-E64D-4F4E-8F09-84A02C85ABA6}" dt="2025-10-07T15:54:32.066" v="691" actId="1076"/>
          <ac:picMkLst>
            <pc:docMk/>
            <pc:sldMk cId="146231439" sldId="4359"/>
            <ac:picMk id="39" creationId="{4DADDE23-63C3-21BF-AD54-03E9E10BFDF5}"/>
          </ac:picMkLst>
        </pc:picChg>
        <pc:picChg chg="del">
          <ac:chgData name="Óscar Palomo Díaz" userId="d3c55112-9a8d-4689-970a-c1931af4e0c7" providerId="ADAL" clId="{1FC5B9FA-E64D-4F4E-8F09-84A02C85ABA6}" dt="2025-10-07T15:47:31.565" v="490" actId="478"/>
          <ac:picMkLst>
            <pc:docMk/>
            <pc:sldMk cId="146231439" sldId="4359"/>
            <ac:picMk id="43" creationId="{3B70C230-C150-18F0-0304-7C5A9E49C7A6}"/>
          </ac:picMkLst>
        </pc:picChg>
      </pc:sldChg>
      <pc:sldChg chg="addSp delSp modSp mod">
        <pc:chgData name="Óscar Palomo Díaz" userId="d3c55112-9a8d-4689-970a-c1931af4e0c7" providerId="ADAL" clId="{1FC5B9FA-E64D-4F4E-8F09-84A02C85ABA6}" dt="2025-10-07T16:41:38.951" v="3133" actId="114"/>
        <pc:sldMkLst>
          <pc:docMk/>
          <pc:sldMk cId="3520971477" sldId="4360"/>
        </pc:sldMkLst>
        <pc:spChg chg="mod">
          <ac:chgData name="Óscar Palomo Díaz" userId="d3c55112-9a8d-4689-970a-c1931af4e0c7" providerId="ADAL" clId="{1FC5B9FA-E64D-4F4E-8F09-84A02C85ABA6}" dt="2025-10-07T16:23:32.182" v="2322" actId="1035"/>
          <ac:spMkLst>
            <pc:docMk/>
            <pc:sldMk cId="3520971477" sldId="4360"/>
            <ac:spMk id="4" creationId="{67E8BC61-A540-5C09-7121-5A0898D54122}"/>
          </ac:spMkLst>
        </pc:spChg>
        <pc:spChg chg="add mod">
          <ac:chgData name="Óscar Palomo Díaz" userId="d3c55112-9a8d-4689-970a-c1931af4e0c7" providerId="ADAL" clId="{1FC5B9FA-E64D-4F4E-8F09-84A02C85ABA6}" dt="2025-10-07T16:23:30.643" v="2321" actId="20577"/>
          <ac:spMkLst>
            <pc:docMk/>
            <pc:sldMk cId="3520971477" sldId="4360"/>
            <ac:spMk id="6" creationId="{C0548FE2-09A4-05D1-5DCB-ACABF4AF7779}"/>
          </ac:spMkLst>
        </pc:spChg>
        <pc:spChg chg="mod">
          <ac:chgData name="Óscar Palomo Díaz" userId="d3c55112-9a8d-4689-970a-c1931af4e0c7" providerId="ADAL" clId="{1FC5B9FA-E64D-4F4E-8F09-84A02C85ABA6}" dt="2025-10-07T16:20:58.101" v="2240" actId="1076"/>
          <ac:spMkLst>
            <pc:docMk/>
            <pc:sldMk cId="3520971477" sldId="4360"/>
            <ac:spMk id="8" creationId="{B35CBB04-D389-025F-BBF1-F44A60DEE168}"/>
          </ac:spMkLst>
        </pc:spChg>
        <pc:spChg chg="del mod">
          <ac:chgData name="Óscar Palomo Díaz" userId="d3c55112-9a8d-4689-970a-c1931af4e0c7" providerId="ADAL" clId="{1FC5B9FA-E64D-4F4E-8F09-84A02C85ABA6}" dt="2025-10-07T15:54:55.928" v="698" actId="478"/>
          <ac:spMkLst>
            <pc:docMk/>
            <pc:sldMk cId="3520971477" sldId="4360"/>
            <ac:spMk id="9" creationId="{B1B99231-E2F7-2350-A1F5-6FD59242B8F3}"/>
          </ac:spMkLst>
        </pc:spChg>
        <pc:spChg chg="mod">
          <ac:chgData name="Óscar Palomo Díaz" userId="d3c55112-9a8d-4689-970a-c1931af4e0c7" providerId="ADAL" clId="{1FC5B9FA-E64D-4F4E-8F09-84A02C85ABA6}" dt="2025-10-07T16:20:58.101" v="2240" actId="1076"/>
          <ac:spMkLst>
            <pc:docMk/>
            <pc:sldMk cId="3520971477" sldId="4360"/>
            <ac:spMk id="10" creationId="{F87BE5E0-0FDD-D60D-46AD-55E1D5BB5A14}"/>
          </ac:spMkLst>
        </pc:spChg>
        <pc:spChg chg="mod">
          <ac:chgData name="Óscar Palomo Díaz" userId="d3c55112-9a8d-4689-970a-c1931af4e0c7" providerId="ADAL" clId="{1FC5B9FA-E64D-4F4E-8F09-84A02C85ABA6}" dt="2025-10-07T16:41:17.389" v="3123" actId="14100"/>
          <ac:spMkLst>
            <pc:docMk/>
            <pc:sldMk cId="3520971477" sldId="4360"/>
            <ac:spMk id="11" creationId="{AC49CEB2-1496-EB27-846C-8086B4C93BC5}"/>
          </ac:spMkLst>
        </pc:spChg>
        <pc:spChg chg="mod">
          <ac:chgData name="Óscar Palomo Díaz" userId="d3c55112-9a8d-4689-970a-c1931af4e0c7" providerId="ADAL" clId="{1FC5B9FA-E64D-4F4E-8F09-84A02C85ABA6}" dt="2025-10-07T16:20:58.101" v="2240" actId="1076"/>
          <ac:spMkLst>
            <pc:docMk/>
            <pc:sldMk cId="3520971477" sldId="4360"/>
            <ac:spMk id="12" creationId="{57ED1CAC-3439-04F3-5B54-28FB152AD913}"/>
          </ac:spMkLst>
        </pc:spChg>
        <pc:spChg chg="mod">
          <ac:chgData name="Óscar Palomo Díaz" userId="d3c55112-9a8d-4689-970a-c1931af4e0c7" providerId="ADAL" clId="{1FC5B9FA-E64D-4F4E-8F09-84A02C85ABA6}" dt="2025-10-07T16:20:58.101" v="2240" actId="1076"/>
          <ac:spMkLst>
            <pc:docMk/>
            <pc:sldMk cId="3520971477" sldId="4360"/>
            <ac:spMk id="13" creationId="{086E2742-5E20-9B59-B278-0EB2B5FBAAF0}"/>
          </ac:spMkLst>
        </pc:spChg>
        <pc:spChg chg="mod">
          <ac:chgData name="Óscar Palomo Díaz" userId="d3c55112-9a8d-4689-970a-c1931af4e0c7" providerId="ADAL" clId="{1FC5B9FA-E64D-4F4E-8F09-84A02C85ABA6}" dt="2025-10-07T16:41:13.398" v="3122" actId="14100"/>
          <ac:spMkLst>
            <pc:docMk/>
            <pc:sldMk cId="3520971477" sldId="4360"/>
            <ac:spMk id="14" creationId="{C3A4ECB5-9817-D025-201B-5160FCB8316E}"/>
          </ac:spMkLst>
        </pc:spChg>
        <pc:spChg chg="mod">
          <ac:chgData name="Óscar Palomo Díaz" userId="d3c55112-9a8d-4689-970a-c1931af4e0c7" providerId="ADAL" clId="{1FC5B9FA-E64D-4F4E-8F09-84A02C85ABA6}" dt="2025-10-07T16:34:09.883" v="2762" actId="20577"/>
          <ac:spMkLst>
            <pc:docMk/>
            <pc:sldMk cId="3520971477" sldId="4360"/>
            <ac:spMk id="15" creationId="{0AD7C350-33BC-B282-B2F0-A589CDE491A8}"/>
          </ac:spMkLst>
        </pc:spChg>
        <pc:spChg chg="mod">
          <ac:chgData name="Óscar Palomo Díaz" userId="d3c55112-9a8d-4689-970a-c1931af4e0c7" providerId="ADAL" clId="{1FC5B9FA-E64D-4F4E-8F09-84A02C85ABA6}" dt="2025-10-07T16:41:31.399" v="3131" actId="114"/>
          <ac:spMkLst>
            <pc:docMk/>
            <pc:sldMk cId="3520971477" sldId="4360"/>
            <ac:spMk id="16" creationId="{477731B5-866D-339F-3C18-9D76F0042BDC}"/>
          </ac:spMkLst>
        </pc:spChg>
        <pc:spChg chg="mod">
          <ac:chgData name="Óscar Palomo Díaz" userId="d3c55112-9a8d-4689-970a-c1931af4e0c7" providerId="ADAL" clId="{1FC5B9FA-E64D-4F4E-8F09-84A02C85ABA6}" dt="2025-10-07T16:41:33.785" v="3132" actId="114"/>
          <ac:spMkLst>
            <pc:docMk/>
            <pc:sldMk cId="3520971477" sldId="4360"/>
            <ac:spMk id="17" creationId="{3F4A0374-200E-4EC2-1F50-809768368F94}"/>
          </ac:spMkLst>
        </pc:spChg>
        <pc:spChg chg="mod">
          <ac:chgData name="Óscar Palomo Díaz" userId="d3c55112-9a8d-4689-970a-c1931af4e0c7" providerId="ADAL" clId="{1FC5B9FA-E64D-4F4E-8F09-84A02C85ABA6}" dt="2025-10-07T16:20:58.101" v="2240" actId="1076"/>
          <ac:spMkLst>
            <pc:docMk/>
            <pc:sldMk cId="3520971477" sldId="4360"/>
            <ac:spMk id="18" creationId="{90DFF8E7-5C4E-9744-C408-BFE1BD7CE44F}"/>
          </ac:spMkLst>
        </pc:spChg>
        <pc:spChg chg="mod">
          <ac:chgData name="Óscar Palomo Díaz" userId="d3c55112-9a8d-4689-970a-c1931af4e0c7" providerId="ADAL" clId="{1FC5B9FA-E64D-4F4E-8F09-84A02C85ABA6}" dt="2025-10-07T16:41:38.951" v="3133" actId="114"/>
          <ac:spMkLst>
            <pc:docMk/>
            <pc:sldMk cId="3520971477" sldId="4360"/>
            <ac:spMk id="19" creationId="{C98F1C39-F810-C31A-DE31-C6749D4F6E84}"/>
          </ac:spMkLst>
        </pc:spChg>
        <pc:spChg chg="del">
          <ac:chgData name="Óscar Palomo Díaz" userId="d3c55112-9a8d-4689-970a-c1931af4e0c7" providerId="ADAL" clId="{1FC5B9FA-E64D-4F4E-8F09-84A02C85ABA6}" dt="2025-10-07T16:01:12.034" v="913" actId="478"/>
          <ac:spMkLst>
            <pc:docMk/>
            <pc:sldMk cId="3520971477" sldId="4360"/>
            <ac:spMk id="20" creationId="{3A09388B-7A0D-3106-AE0F-0583BF56C4F9}"/>
          </ac:spMkLst>
        </pc:spChg>
        <pc:spChg chg="add del mod">
          <ac:chgData name="Óscar Palomo Díaz" userId="d3c55112-9a8d-4689-970a-c1931af4e0c7" providerId="ADAL" clId="{1FC5B9FA-E64D-4F4E-8F09-84A02C85ABA6}" dt="2025-10-07T15:54:58.310" v="699" actId="478"/>
          <ac:spMkLst>
            <pc:docMk/>
            <pc:sldMk cId="3520971477" sldId="4360"/>
            <ac:spMk id="23" creationId="{C0BB7298-A32F-7593-F27C-61C1A955B867}"/>
          </ac:spMkLst>
        </pc:spChg>
        <pc:spChg chg="add mod">
          <ac:chgData name="Óscar Palomo Díaz" userId="d3c55112-9a8d-4689-970a-c1931af4e0c7" providerId="ADAL" clId="{1FC5B9FA-E64D-4F4E-8F09-84A02C85ABA6}" dt="2025-10-07T16:41:20.069" v="3124" actId="1076"/>
          <ac:spMkLst>
            <pc:docMk/>
            <pc:sldMk cId="3520971477" sldId="4360"/>
            <ac:spMk id="24" creationId="{D44A3F98-51A3-FB98-D42F-9C957087E484}"/>
          </ac:spMkLst>
        </pc:spChg>
        <pc:spChg chg="add mod">
          <ac:chgData name="Óscar Palomo Díaz" userId="d3c55112-9a8d-4689-970a-c1931af4e0c7" providerId="ADAL" clId="{1FC5B9FA-E64D-4F4E-8F09-84A02C85ABA6}" dt="2025-10-07T16:20:58.101" v="2240" actId="1076"/>
          <ac:spMkLst>
            <pc:docMk/>
            <pc:sldMk cId="3520971477" sldId="4360"/>
            <ac:spMk id="25" creationId="{112879B4-E558-B853-9BAE-88AACF149634}"/>
          </ac:spMkLst>
        </pc:spChg>
        <pc:picChg chg="del">
          <ac:chgData name="Óscar Palomo Díaz" userId="d3c55112-9a8d-4689-970a-c1931af4e0c7" providerId="ADAL" clId="{1FC5B9FA-E64D-4F4E-8F09-84A02C85ABA6}" dt="2025-10-07T15:47:33.935" v="491" actId="478"/>
          <ac:picMkLst>
            <pc:docMk/>
            <pc:sldMk cId="3520971477" sldId="4360"/>
            <ac:picMk id="43" creationId="{2FFBAA2E-9A31-0885-5150-F4E7E50EC785}"/>
          </ac:picMkLst>
        </pc:picChg>
      </pc:sldChg>
      <pc:sldChg chg="addSp delSp modSp mod">
        <pc:chgData name="Óscar Palomo Díaz" userId="d3c55112-9a8d-4689-970a-c1931af4e0c7" providerId="ADAL" clId="{1FC5B9FA-E64D-4F4E-8F09-84A02C85ABA6}" dt="2025-10-07T16:23:35.947" v="2324" actId="20577"/>
        <pc:sldMkLst>
          <pc:docMk/>
          <pc:sldMk cId="1779854552" sldId="4361"/>
        </pc:sldMkLst>
        <pc:spChg chg="add mod">
          <ac:chgData name="Óscar Palomo Díaz" userId="d3c55112-9a8d-4689-970a-c1931af4e0c7" providerId="ADAL" clId="{1FC5B9FA-E64D-4F4E-8F09-84A02C85ABA6}" dt="2025-10-07T16:23:35.947" v="2324" actId="20577"/>
          <ac:spMkLst>
            <pc:docMk/>
            <pc:sldMk cId="1779854552" sldId="4361"/>
            <ac:spMk id="4" creationId="{E29B41A6-C08A-698F-248D-92D21251750C}"/>
          </ac:spMkLst>
        </pc:spChg>
        <pc:spChg chg="mod">
          <ac:chgData name="Óscar Palomo Díaz" userId="d3c55112-9a8d-4689-970a-c1931af4e0c7" providerId="ADAL" clId="{1FC5B9FA-E64D-4F4E-8F09-84A02C85ABA6}" dt="2025-10-07T16:06:30.758" v="1246" actId="12789"/>
          <ac:spMkLst>
            <pc:docMk/>
            <pc:sldMk cId="1779854552" sldId="4361"/>
            <ac:spMk id="82" creationId="{9771B745-7CE8-AA7A-A14D-3BB14422622A}"/>
          </ac:spMkLst>
        </pc:spChg>
        <pc:spChg chg="mod">
          <ac:chgData name="Óscar Palomo Díaz" userId="d3c55112-9a8d-4689-970a-c1931af4e0c7" providerId="ADAL" clId="{1FC5B9FA-E64D-4F4E-8F09-84A02C85ABA6}" dt="2025-10-07T16:06:30.758" v="1246" actId="12789"/>
          <ac:spMkLst>
            <pc:docMk/>
            <pc:sldMk cId="1779854552" sldId="4361"/>
            <ac:spMk id="83" creationId="{EE40E963-1AE3-63FC-9340-B28A09343DA1}"/>
          </ac:spMkLst>
        </pc:spChg>
        <pc:spChg chg="mod">
          <ac:chgData name="Óscar Palomo Díaz" userId="d3c55112-9a8d-4689-970a-c1931af4e0c7" providerId="ADAL" clId="{1FC5B9FA-E64D-4F4E-8F09-84A02C85ABA6}" dt="2025-10-07T16:08:11.437" v="1266" actId="5793"/>
          <ac:spMkLst>
            <pc:docMk/>
            <pc:sldMk cId="1779854552" sldId="4361"/>
            <ac:spMk id="84" creationId="{FFF5FD6F-9DC3-F483-E20E-F9F306F0C2C6}"/>
          </ac:spMkLst>
        </pc:spChg>
        <pc:spChg chg="mod">
          <ac:chgData name="Óscar Palomo Díaz" userId="d3c55112-9a8d-4689-970a-c1931af4e0c7" providerId="ADAL" clId="{1FC5B9FA-E64D-4F4E-8F09-84A02C85ABA6}" dt="2025-10-07T16:06:35.408" v="1248" actId="20577"/>
          <ac:spMkLst>
            <pc:docMk/>
            <pc:sldMk cId="1779854552" sldId="4361"/>
            <ac:spMk id="85" creationId="{D1E5023D-DD13-5C8C-7F24-67D4B8C6D705}"/>
          </ac:spMkLst>
        </pc:spChg>
        <pc:spChg chg="mod">
          <ac:chgData name="Óscar Palomo Díaz" userId="d3c55112-9a8d-4689-970a-c1931af4e0c7" providerId="ADAL" clId="{1FC5B9FA-E64D-4F4E-8F09-84A02C85ABA6}" dt="2025-10-07T16:06:30.758" v="1246" actId="12789"/>
          <ac:spMkLst>
            <pc:docMk/>
            <pc:sldMk cId="1779854552" sldId="4361"/>
            <ac:spMk id="86" creationId="{8A1AD466-0554-A2F3-CADF-116248F9A3EA}"/>
          </ac:spMkLst>
        </pc:spChg>
        <pc:spChg chg="mod">
          <ac:chgData name="Óscar Palomo Díaz" userId="d3c55112-9a8d-4689-970a-c1931af4e0c7" providerId="ADAL" clId="{1FC5B9FA-E64D-4F4E-8F09-84A02C85ABA6}" dt="2025-10-07T15:47:38.137" v="493" actId="14100"/>
          <ac:spMkLst>
            <pc:docMk/>
            <pc:sldMk cId="1779854552" sldId="4361"/>
            <ac:spMk id="104" creationId="{668F7E13-5AFC-0AA3-64A1-06BDE90D7DE6}"/>
          </ac:spMkLst>
        </pc:spChg>
        <pc:spChg chg="del mod">
          <ac:chgData name="Óscar Palomo Díaz" userId="d3c55112-9a8d-4689-970a-c1931af4e0c7" providerId="ADAL" clId="{1FC5B9FA-E64D-4F4E-8F09-84A02C85ABA6}" dt="2025-10-07T16:02:46.657" v="1015" actId="478"/>
          <ac:spMkLst>
            <pc:docMk/>
            <pc:sldMk cId="1779854552" sldId="4361"/>
            <ac:spMk id="111" creationId="{D145E541-6E80-8BE5-0B8C-A0F228BBEF62}"/>
          </ac:spMkLst>
        </pc:spChg>
        <pc:picChg chg="mod">
          <ac:chgData name="Óscar Palomo Díaz" userId="d3c55112-9a8d-4689-970a-c1931af4e0c7" providerId="ADAL" clId="{1FC5B9FA-E64D-4F4E-8F09-84A02C85ABA6}" dt="2025-10-07T15:47:42.087" v="494" actId="14100"/>
          <ac:picMkLst>
            <pc:docMk/>
            <pc:sldMk cId="1779854552" sldId="4361"/>
            <ac:picMk id="8" creationId="{C5447A3E-759A-B83E-BE6F-A26B18284DC9}"/>
          </ac:picMkLst>
        </pc:picChg>
        <pc:picChg chg="del">
          <ac:chgData name="Óscar Palomo Díaz" userId="d3c55112-9a8d-4689-970a-c1931af4e0c7" providerId="ADAL" clId="{1FC5B9FA-E64D-4F4E-8F09-84A02C85ABA6}" dt="2025-10-07T15:47:36.028" v="492" actId="478"/>
          <ac:picMkLst>
            <pc:docMk/>
            <pc:sldMk cId="1779854552" sldId="4361"/>
            <ac:picMk id="12" creationId="{31FA0D52-20D6-0A15-EF4E-B2FD59C8F8D5}"/>
          </ac:picMkLst>
        </pc:picChg>
      </pc:sldChg>
      <pc:sldChg chg="addSp delSp modSp mod delAnim modAnim">
        <pc:chgData name="Óscar Palomo Díaz" userId="d3c55112-9a8d-4689-970a-c1931af4e0c7" providerId="ADAL" clId="{1FC5B9FA-E64D-4F4E-8F09-84A02C85ABA6}" dt="2025-10-07T16:23:39.273" v="2326" actId="20577"/>
        <pc:sldMkLst>
          <pc:docMk/>
          <pc:sldMk cId="2608448529" sldId="4362"/>
        </pc:sldMkLst>
        <pc:spChg chg="add mod">
          <ac:chgData name="Óscar Palomo Díaz" userId="d3c55112-9a8d-4689-970a-c1931af4e0c7" providerId="ADAL" clId="{1FC5B9FA-E64D-4F4E-8F09-84A02C85ABA6}" dt="2025-10-07T16:23:39.273" v="2326" actId="20577"/>
          <ac:spMkLst>
            <pc:docMk/>
            <pc:sldMk cId="2608448529" sldId="4362"/>
            <ac:spMk id="3" creationId="{F51465EF-00C7-B7F1-ACC3-BD9F30B13C79}"/>
          </ac:spMkLst>
        </pc:spChg>
        <pc:spChg chg="add mod">
          <ac:chgData name="Óscar Palomo Díaz" userId="d3c55112-9a8d-4689-970a-c1931af4e0c7" providerId="ADAL" clId="{1FC5B9FA-E64D-4F4E-8F09-84A02C85ABA6}" dt="2025-10-07T16:19:39.077" v="2219" actId="1076"/>
          <ac:spMkLst>
            <pc:docMk/>
            <pc:sldMk cId="2608448529" sldId="4362"/>
            <ac:spMk id="4" creationId="{C90643CA-48EE-873B-2A6E-0F338902A23C}"/>
          </ac:spMkLst>
        </pc:spChg>
        <pc:spChg chg="mod">
          <ac:chgData name="Óscar Palomo Díaz" userId="d3c55112-9a8d-4689-970a-c1931af4e0c7" providerId="ADAL" clId="{1FC5B9FA-E64D-4F4E-8F09-84A02C85ABA6}" dt="2025-10-07T16:11:06.985" v="1575" actId="20577"/>
          <ac:spMkLst>
            <pc:docMk/>
            <pc:sldMk cId="2608448529" sldId="4362"/>
            <ac:spMk id="16" creationId="{A75E530A-C5A0-C40F-35C2-4AA73B70C7F6}"/>
          </ac:spMkLst>
        </pc:spChg>
        <pc:spChg chg="mod">
          <ac:chgData name="Óscar Palomo Díaz" userId="d3c55112-9a8d-4689-970a-c1931af4e0c7" providerId="ADAL" clId="{1FC5B9FA-E64D-4F4E-8F09-84A02C85ABA6}" dt="2025-10-07T16:09:51.653" v="1438" actId="14100"/>
          <ac:spMkLst>
            <pc:docMk/>
            <pc:sldMk cId="2608448529" sldId="4362"/>
            <ac:spMk id="19" creationId="{184C4493-AA92-4D81-90F3-3E180ED6B4DC}"/>
          </ac:spMkLst>
        </pc:spChg>
        <pc:spChg chg="mod">
          <ac:chgData name="Óscar Palomo Díaz" userId="d3c55112-9a8d-4689-970a-c1931af4e0c7" providerId="ADAL" clId="{1FC5B9FA-E64D-4F4E-8F09-84A02C85ABA6}" dt="2025-10-07T16:19:39.077" v="2219" actId="1076"/>
          <ac:spMkLst>
            <pc:docMk/>
            <pc:sldMk cId="2608448529" sldId="4362"/>
            <ac:spMk id="21" creationId="{0EFCF9FE-C8C2-293E-1DD8-A28D34A4709F}"/>
          </ac:spMkLst>
        </pc:spChg>
        <pc:spChg chg="mod">
          <ac:chgData name="Óscar Palomo Díaz" userId="d3c55112-9a8d-4689-970a-c1931af4e0c7" providerId="ADAL" clId="{1FC5B9FA-E64D-4F4E-8F09-84A02C85ABA6}" dt="2025-10-07T16:19:39.077" v="2219" actId="1076"/>
          <ac:spMkLst>
            <pc:docMk/>
            <pc:sldMk cId="2608448529" sldId="4362"/>
            <ac:spMk id="23" creationId="{CCCF8AF0-D1EA-0D17-6B84-37302DD35126}"/>
          </ac:spMkLst>
        </pc:spChg>
        <pc:spChg chg="mod">
          <ac:chgData name="Óscar Palomo Díaz" userId="d3c55112-9a8d-4689-970a-c1931af4e0c7" providerId="ADAL" clId="{1FC5B9FA-E64D-4F4E-8F09-84A02C85ABA6}" dt="2025-10-07T16:19:39.077" v="2219" actId="1076"/>
          <ac:spMkLst>
            <pc:docMk/>
            <pc:sldMk cId="2608448529" sldId="4362"/>
            <ac:spMk id="25" creationId="{3525D884-1ABE-2F54-4D9D-917B75B79C80}"/>
          </ac:spMkLst>
        </pc:spChg>
        <pc:spChg chg="mod">
          <ac:chgData name="Óscar Palomo Díaz" userId="d3c55112-9a8d-4689-970a-c1931af4e0c7" providerId="ADAL" clId="{1FC5B9FA-E64D-4F4E-8F09-84A02C85ABA6}" dt="2025-10-07T16:19:54.559" v="2220" actId="6549"/>
          <ac:spMkLst>
            <pc:docMk/>
            <pc:sldMk cId="2608448529" sldId="4362"/>
            <ac:spMk id="27" creationId="{CB37DB81-FFF3-BFA3-5653-C3BB9E4DC43F}"/>
          </ac:spMkLst>
        </pc:spChg>
        <pc:spChg chg="del">
          <ac:chgData name="Óscar Palomo Díaz" userId="d3c55112-9a8d-4689-970a-c1931af4e0c7" providerId="ADAL" clId="{1FC5B9FA-E64D-4F4E-8F09-84A02C85ABA6}" dt="2025-10-07T16:08:21.167" v="1267" actId="478"/>
          <ac:spMkLst>
            <pc:docMk/>
            <pc:sldMk cId="2608448529" sldId="4362"/>
            <ac:spMk id="32" creationId="{CB11BBF1-C5F8-D148-BD14-EFB56D8C64BF}"/>
          </ac:spMkLst>
        </pc:spChg>
        <pc:picChg chg="add mod">
          <ac:chgData name="Óscar Palomo Díaz" userId="d3c55112-9a8d-4689-970a-c1931af4e0c7" providerId="ADAL" clId="{1FC5B9FA-E64D-4F4E-8F09-84A02C85ABA6}" dt="2025-10-07T16:19:39.077" v="2219" actId="1076"/>
          <ac:picMkLst>
            <pc:docMk/>
            <pc:sldMk cId="2608448529" sldId="4362"/>
            <ac:picMk id="5" creationId="{E2063385-0771-E97D-9C1A-FFC035E57162}"/>
          </ac:picMkLst>
        </pc:picChg>
        <pc:picChg chg="del">
          <ac:chgData name="Óscar Palomo Díaz" userId="d3c55112-9a8d-4689-970a-c1931af4e0c7" providerId="ADAL" clId="{1FC5B9FA-E64D-4F4E-8F09-84A02C85ABA6}" dt="2025-10-07T15:47:45.357" v="495" actId="478"/>
          <ac:picMkLst>
            <pc:docMk/>
            <pc:sldMk cId="2608448529" sldId="4362"/>
            <ac:picMk id="12" creationId="{E4D012A1-E1B6-7C25-67E4-FD638FA44684}"/>
          </ac:picMkLst>
        </pc:picChg>
        <pc:picChg chg="mod">
          <ac:chgData name="Óscar Palomo Díaz" userId="d3c55112-9a8d-4689-970a-c1931af4e0c7" providerId="ADAL" clId="{1FC5B9FA-E64D-4F4E-8F09-84A02C85ABA6}" dt="2025-10-07T16:19:39.077" v="2219" actId="1076"/>
          <ac:picMkLst>
            <pc:docMk/>
            <pc:sldMk cId="2608448529" sldId="4362"/>
            <ac:picMk id="22" creationId="{6D7D11E8-0A02-D09D-9C52-30FA123F873D}"/>
          </ac:picMkLst>
        </pc:picChg>
        <pc:picChg chg="mod">
          <ac:chgData name="Óscar Palomo Díaz" userId="d3c55112-9a8d-4689-970a-c1931af4e0c7" providerId="ADAL" clId="{1FC5B9FA-E64D-4F4E-8F09-84A02C85ABA6}" dt="2025-10-07T16:19:39.077" v="2219" actId="1076"/>
          <ac:picMkLst>
            <pc:docMk/>
            <pc:sldMk cId="2608448529" sldId="4362"/>
            <ac:picMk id="24" creationId="{8D8568B6-0C18-4124-A3D0-6484A3A28178}"/>
          </ac:picMkLst>
        </pc:picChg>
        <pc:picChg chg="mod">
          <ac:chgData name="Óscar Palomo Díaz" userId="d3c55112-9a8d-4689-970a-c1931af4e0c7" providerId="ADAL" clId="{1FC5B9FA-E64D-4F4E-8F09-84A02C85ABA6}" dt="2025-10-07T16:19:39.077" v="2219" actId="1076"/>
          <ac:picMkLst>
            <pc:docMk/>
            <pc:sldMk cId="2608448529" sldId="4362"/>
            <ac:picMk id="26" creationId="{9B2117EC-0776-B7D6-B87E-3E28409B2896}"/>
          </ac:picMkLst>
        </pc:picChg>
        <pc:picChg chg="del mod">
          <ac:chgData name="Óscar Palomo Díaz" userId="d3c55112-9a8d-4689-970a-c1931af4e0c7" providerId="ADAL" clId="{1FC5B9FA-E64D-4F4E-8F09-84A02C85ABA6}" dt="2025-10-07T16:17:59.059" v="2013" actId="478"/>
          <ac:picMkLst>
            <pc:docMk/>
            <pc:sldMk cId="2608448529" sldId="4362"/>
            <ac:picMk id="28" creationId="{0CB7450F-8B30-4F84-FF23-3E193AAA1DB8}"/>
          </ac:picMkLst>
        </pc:picChg>
      </pc:sldChg>
      <pc:sldChg chg="addSp delSp modSp del mod">
        <pc:chgData name="Óscar Palomo Díaz" userId="d3c55112-9a8d-4689-970a-c1931af4e0c7" providerId="ADAL" clId="{1FC5B9FA-E64D-4F4E-8F09-84A02C85ABA6}" dt="2025-10-07T16:30:33.150" v="2625" actId="2696"/>
        <pc:sldMkLst>
          <pc:docMk/>
          <pc:sldMk cId="549448782" sldId="4364"/>
        </pc:sldMkLst>
        <pc:spChg chg="mod">
          <ac:chgData name="Óscar Palomo Díaz" userId="d3c55112-9a8d-4689-970a-c1931af4e0c7" providerId="ADAL" clId="{1FC5B9FA-E64D-4F4E-8F09-84A02C85ABA6}" dt="2025-10-07T16:21:53.237" v="2242"/>
          <ac:spMkLst>
            <pc:docMk/>
            <pc:sldMk cId="549448782" sldId="4364"/>
            <ac:spMk id="6" creationId="{2A30819D-7106-D414-CC71-28262EC20570}"/>
          </ac:spMkLst>
        </pc:spChg>
        <pc:spChg chg="mod">
          <ac:chgData name="Óscar Palomo Díaz" userId="d3c55112-9a8d-4689-970a-c1931af4e0c7" providerId="ADAL" clId="{1FC5B9FA-E64D-4F4E-8F09-84A02C85ABA6}" dt="2025-10-07T16:24:33.300" v="2340" actId="1035"/>
          <ac:spMkLst>
            <pc:docMk/>
            <pc:sldMk cId="549448782" sldId="4364"/>
            <ac:spMk id="9" creationId="{88A1722F-47FB-D39E-741B-278DBF442939}"/>
          </ac:spMkLst>
        </pc:spChg>
        <pc:grpChg chg="add mod ord">
          <ac:chgData name="Óscar Palomo Díaz" userId="d3c55112-9a8d-4689-970a-c1931af4e0c7" providerId="ADAL" clId="{1FC5B9FA-E64D-4F4E-8F09-84A02C85ABA6}" dt="2025-10-07T16:24:06.401" v="2337" actId="167"/>
          <ac:grpSpMkLst>
            <pc:docMk/>
            <pc:sldMk cId="549448782" sldId="4364"/>
            <ac:grpSpMk id="4" creationId="{35EA3AA7-2C06-99DB-12E7-FEC2B521244A}"/>
          </ac:grpSpMkLst>
        </pc:grpChg>
        <pc:picChg chg="mod">
          <ac:chgData name="Óscar Palomo Díaz" userId="d3c55112-9a8d-4689-970a-c1931af4e0c7" providerId="ADAL" clId="{1FC5B9FA-E64D-4F4E-8F09-84A02C85ABA6}" dt="2025-10-07T16:21:53.237" v="2242"/>
          <ac:picMkLst>
            <pc:docMk/>
            <pc:sldMk cId="549448782" sldId="4364"/>
            <ac:picMk id="5" creationId="{8867AC18-33E7-D922-853C-708EC153FB87}"/>
          </ac:picMkLst>
        </pc:picChg>
        <pc:picChg chg="add mod ord">
          <ac:chgData name="Óscar Palomo Díaz" userId="d3c55112-9a8d-4689-970a-c1931af4e0c7" providerId="ADAL" clId="{1FC5B9FA-E64D-4F4E-8F09-84A02C85ABA6}" dt="2025-10-07T16:24:03.498" v="2336" actId="167"/>
          <ac:picMkLst>
            <pc:docMk/>
            <pc:sldMk cId="549448782" sldId="4364"/>
            <ac:picMk id="7" creationId="{2DB0B71F-91AF-C2C5-51F3-3E695579549A}"/>
          </ac:picMkLst>
        </pc:picChg>
        <pc:picChg chg="mod">
          <ac:chgData name="Óscar Palomo Díaz" userId="d3c55112-9a8d-4689-970a-c1931af4e0c7" providerId="ADAL" clId="{1FC5B9FA-E64D-4F4E-8F09-84A02C85ABA6}" dt="2025-10-07T16:22:36.169" v="2274" actId="1076"/>
          <ac:picMkLst>
            <pc:docMk/>
            <pc:sldMk cId="549448782" sldId="4364"/>
            <ac:picMk id="19" creationId="{4C29A929-F920-1AEB-5ABD-B0E141B66375}"/>
          </ac:picMkLst>
        </pc:picChg>
        <pc:picChg chg="del">
          <ac:chgData name="Óscar Palomo Díaz" userId="d3c55112-9a8d-4689-970a-c1931af4e0c7" providerId="ADAL" clId="{1FC5B9FA-E64D-4F4E-8F09-84A02C85ABA6}" dt="2025-10-07T16:21:53.050" v="2241" actId="478"/>
          <ac:picMkLst>
            <pc:docMk/>
            <pc:sldMk cId="549448782" sldId="4364"/>
            <ac:picMk id="26" creationId="{67ED3FDA-8DFC-739C-8143-25736D7AD39D}"/>
          </ac:picMkLst>
        </pc:picChg>
        <pc:picChg chg="del">
          <ac:chgData name="Óscar Palomo Díaz" userId="d3c55112-9a8d-4689-970a-c1931af4e0c7" providerId="ADAL" clId="{1FC5B9FA-E64D-4F4E-8F09-84A02C85ABA6}" dt="2025-10-07T15:48:11.663" v="502" actId="478"/>
          <ac:picMkLst>
            <pc:docMk/>
            <pc:sldMk cId="549448782" sldId="4364"/>
            <ac:picMk id="43" creationId="{B2F7FEA2-D321-CB08-211A-6C64CB4B1A84}"/>
          </ac:picMkLst>
        </pc:picChg>
      </pc:sldChg>
      <pc:sldChg chg="addSp delSp modSp mod">
        <pc:chgData name="Óscar Palomo Díaz" userId="d3c55112-9a8d-4689-970a-c1931af4e0c7" providerId="ADAL" clId="{1FC5B9FA-E64D-4F4E-8F09-84A02C85ABA6}" dt="2025-10-07T16:39:22.925" v="3026" actId="114"/>
        <pc:sldMkLst>
          <pc:docMk/>
          <pc:sldMk cId="4278634767" sldId="4365"/>
        </pc:sldMkLst>
        <pc:spChg chg="add del mod">
          <ac:chgData name="Óscar Palomo Díaz" userId="d3c55112-9a8d-4689-970a-c1931af4e0c7" providerId="ADAL" clId="{1FC5B9FA-E64D-4F4E-8F09-84A02C85ABA6}" dt="2025-10-07T16:20:23.250" v="2223" actId="478"/>
          <ac:spMkLst>
            <pc:docMk/>
            <pc:sldMk cId="4278634767" sldId="4365"/>
            <ac:spMk id="4" creationId="{FBC9E527-6CDD-9438-B666-418C94695479}"/>
          </ac:spMkLst>
        </pc:spChg>
        <pc:spChg chg="add mod">
          <ac:chgData name="Óscar Palomo Díaz" userId="d3c55112-9a8d-4689-970a-c1931af4e0c7" providerId="ADAL" clId="{1FC5B9FA-E64D-4F4E-8F09-84A02C85ABA6}" dt="2025-10-07T16:23:42.228" v="2328" actId="20577"/>
          <ac:spMkLst>
            <pc:docMk/>
            <pc:sldMk cId="4278634767" sldId="4365"/>
            <ac:spMk id="5" creationId="{A3B1CBAA-EE9D-4637-7601-5145173E5A9F}"/>
          </ac:spMkLst>
        </pc:spChg>
        <pc:spChg chg="add mod">
          <ac:chgData name="Óscar Palomo Díaz" userId="d3c55112-9a8d-4689-970a-c1931af4e0c7" providerId="ADAL" clId="{1FC5B9FA-E64D-4F4E-8F09-84A02C85ABA6}" dt="2025-10-07T16:30:58.238" v="2626"/>
          <ac:spMkLst>
            <pc:docMk/>
            <pc:sldMk cId="4278634767" sldId="4365"/>
            <ac:spMk id="8" creationId="{4FAD2369-0AB9-789B-FA97-57C421045AA3}"/>
          </ac:spMkLst>
        </pc:spChg>
        <pc:spChg chg="del mod">
          <ac:chgData name="Óscar Palomo Díaz" userId="d3c55112-9a8d-4689-970a-c1931af4e0c7" providerId="ADAL" clId="{1FC5B9FA-E64D-4F4E-8F09-84A02C85ABA6}" dt="2025-10-07T16:20:20.277" v="2221" actId="478"/>
          <ac:spMkLst>
            <pc:docMk/>
            <pc:sldMk cId="4278634767" sldId="4365"/>
            <ac:spMk id="9" creationId="{CD304A43-38AE-E034-5E0D-8882DA8643D4}"/>
          </ac:spMkLst>
        </pc:spChg>
        <pc:spChg chg="add mod">
          <ac:chgData name="Óscar Palomo Díaz" userId="d3c55112-9a8d-4689-970a-c1931af4e0c7" providerId="ADAL" clId="{1FC5B9FA-E64D-4F4E-8F09-84A02C85ABA6}" dt="2025-10-07T16:30:58.238" v="2626"/>
          <ac:spMkLst>
            <pc:docMk/>
            <pc:sldMk cId="4278634767" sldId="4365"/>
            <ac:spMk id="10" creationId="{5ADC15A5-0915-1680-B7C2-9C64C238FCF7}"/>
          </ac:spMkLst>
        </pc:spChg>
        <pc:spChg chg="add mod">
          <ac:chgData name="Óscar Palomo Díaz" userId="d3c55112-9a8d-4689-970a-c1931af4e0c7" providerId="ADAL" clId="{1FC5B9FA-E64D-4F4E-8F09-84A02C85ABA6}" dt="2025-10-07T16:30:58.238" v="2626"/>
          <ac:spMkLst>
            <pc:docMk/>
            <pc:sldMk cId="4278634767" sldId="4365"/>
            <ac:spMk id="11" creationId="{D204292F-12B8-0E9B-E0B3-07EBA42B26CC}"/>
          </ac:spMkLst>
        </pc:spChg>
        <pc:spChg chg="add mod">
          <ac:chgData name="Óscar Palomo Díaz" userId="d3c55112-9a8d-4689-970a-c1931af4e0c7" providerId="ADAL" clId="{1FC5B9FA-E64D-4F4E-8F09-84A02C85ABA6}" dt="2025-10-07T16:30:58.238" v="2626"/>
          <ac:spMkLst>
            <pc:docMk/>
            <pc:sldMk cId="4278634767" sldId="4365"/>
            <ac:spMk id="12" creationId="{E530AD49-BA6D-9A5D-6488-C3FB9772728B}"/>
          </ac:spMkLst>
        </pc:spChg>
        <pc:spChg chg="add mod">
          <ac:chgData name="Óscar Palomo Díaz" userId="d3c55112-9a8d-4689-970a-c1931af4e0c7" providerId="ADAL" clId="{1FC5B9FA-E64D-4F4E-8F09-84A02C85ABA6}" dt="2025-10-07T16:37:02.491" v="2923" actId="14100"/>
          <ac:spMkLst>
            <pc:docMk/>
            <pc:sldMk cId="4278634767" sldId="4365"/>
            <ac:spMk id="13" creationId="{271ADFBB-7F30-CF5C-6350-8F12E373F0B6}"/>
          </ac:spMkLst>
        </pc:spChg>
        <pc:spChg chg="mod">
          <ac:chgData name="Óscar Palomo Díaz" userId="d3c55112-9a8d-4689-970a-c1931af4e0c7" providerId="ADAL" clId="{1FC5B9FA-E64D-4F4E-8F09-84A02C85ABA6}" dt="2025-10-07T15:48:03.507" v="501" actId="14100"/>
          <ac:spMkLst>
            <pc:docMk/>
            <pc:sldMk cId="4278634767" sldId="4365"/>
            <ac:spMk id="48" creationId="{0FB05E3D-5D15-F407-D06E-E0CD8F349F1A}"/>
          </ac:spMkLst>
        </pc:spChg>
        <pc:spChg chg="mod">
          <ac:chgData name="Óscar Palomo Díaz" userId="d3c55112-9a8d-4689-970a-c1931af4e0c7" providerId="ADAL" clId="{1FC5B9FA-E64D-4F4E-8F09-84A02C85ABA6}" dt="2025-10-07T16:37:16.193" v="2929" actId="404"/>
          <ac:spMkLst>
            <pc:docMk/>
            <pc:sldMk cId="4278634767" sldId="4365"/>
            <ac:spMk id="55" creationId="{9F42ADEB-0020-152F-44B7-860E2AC101B2}"/>
          </ac:spMkLst>
        </pc:spChg>
        <pc:spChg chg="mod">
          <ac:chgData name="Óscar Palomo Díaz" userId="d3c55112-9a8d-4689-970a-c1931af4e0c7" providerId="ADAL" clId="{1FC5B9FA-E64D-4F4E-8F09-84A02C85ABA6}" dt="2025-10-07T16:39:22.925" v="3026" actId="114"/>
          <ac:spMkLst>
            <pc:docMk/>
            <pc:sldMk cId="4278634767" sldId="4365"/>
            <ac:spMk id="70" creationId="{2AEC5DBB-7B84-77DE-2411-97F713C66D08}"/>
          </ac:spMkLst>
        </pc:spChg>
        <pc:spChg chg="mod">
          <ac:chgData name="Óscar Palomo Díaz" userId="d3c55112-9a8d-4689-970a-c1931af4e0c7" providerId="ADAL" clId="{1FC5B9FA-E64D-4F4E-8F09-84A02C85ABA6}" dt="2025-10-07T16:38:24.541" v="2948" actId="1076"/>
          <ac:spMkLst>
            <pc:docMk/>
            <pc:sldMk cId="4278634767" sldId="4365"/>
            <ac:spMk id="86" creationId="{B788D053-7BBD-E5EC-9E58-29A4694F8DF7}"/>
          </ac:spMkLst>
        </pc:spChg>
        <pc:grpChg chg="mod">
          <ac:chgData name="Óscar Palomo Díaz" userId="d3c55112-9a8d-4689-970a-c1931af4e0c7" providerId="ADAL" clId="{1FC5B9FA-E64D-4F4E-8F09-84A02C85ABA6}" dt="2025-10-07T16:36:29.436" v="2821" actId="14100"/>
          <ac:grpSpMkLst>
            <pc:docMk/>
            <pc:sldMk cId="4278634767" sldId="4365"/>
            <ac:grpSpMk id="65" creationId="{9BDEA9A4-CBFD-F86F-B825-E60C69D33D22}"/>
          </ac:grpSpMkLst>
        </pc:grpChg>
        <pc:grpChg chg="del">
          <ac:chgData name="Óscar Palomo Díaz" userId="d3c55112-9a8d-4689-970a-c1931af4e0c7" providerId="ADAL" clId="{1FC5B9FA-E64D-4F4E-8F09-84A02C85ABA6}" dt="2025-10-07T16:39:10.368" v="3023" actId="478"/>
          <ac:grpSpMkLst>
            <pc:docMk/>
            <pc:sldMk cId="4278634767" sldId="4365"/>
            <ac:grpSpMk id="71" creationId="{19EF3276-CB87-4576-989C-25348674994A}"/>
          </ac:grpSpMkLst>
        </pc:grpChg>
        <pc:grpChg chg="del">
          <ac:chgData name="Óscar Palomo Díaz" userId="d3c55112-9a8d-4689-970a-c1931af4e0c7" providerId="ADAL" clId="{1FC5B9FA-E64D-4F4E-8F09-84A02C85ABA6}" dt="2025-10-07T16:37:59.412" v="2943" actId="478"/>
          <ac:grpSpMkLst>
            <pc:docMk/>
            <pc:sldMk cId="4278634767" sldId="4365"/>
            <ac:grpSpMk id="76" creationId="{7933A8EF-B923-8043-FA65-C7A1D878751E}"/>
          </ac:grpSpMkLst>
        </pc:grpChg>
        <pc:grpChg chg="del">
          <ac:chgData name="Óscar Palomo Díaz" userId="d3c55112-9a8d-4689-970a-c1931af4e0c7" providerId="ADAL" clId="{1FC5B9FA-E64D-4F4E-8F09-84A02C85ABA6}" dt="2025-10-07T16:39:16.073" v="3024" actId="478"/>
          <ac:grpSpMkLst>
            <pc:docMk/>
            <pc:sldMk cId="4278634767" sldId="4365"/>
            <ac:grpSpMk id="87" creationId="{A87C0BD8-E1BA-D8F8-A213-A1467AA4FADF}"/>
          </ac:grpSpMkLst>
        </pc:grpChg>
        <pc:picChg chg="add mod">
          <ac:chgData name="Óscar Palomo Díaz" userId="d3c55112-9a8d-4689-970a-c1931af4e0c7" providerId="ADAL" clId="{1FC5B9FA-E64D-4F4E-8F09-84A02C85ABA6}" dt="2025-10-07T16:30:58.238" v="2626"/>
          <ac:picMkLst>
            <pc:docMk/>
            <pc:sldMk cId="4278634767" sldId="4365"/>
            <ac:picMk id="7" creationId="{0D66D6B4-DD8E-C146-9B2F-E566354C9199}"/>
          </ac:picMkLst>
        </pc:picChg>
        <pc:picChg chg="del">
          <ac:chgData name="Óscar Palomo Díaz" userId="d3c55112-9a8d-4689-970a-c1931af4e0c7" providerId="ADAL" clId="{1FC5B9FA-E64D-4F4E-8F09-84A02C85ABA6}" dt="2025-10-07T15:47:48.081" v="496" actId="478"/>
          <ac:picMkLst>
            <pc:docMk/>
            <pc:sldMk cId="4278634767" sldId="4365"/>
            <ac:picMk id="43" creationId="{E498D492-3B96-13D8-1BC8-5C8D954CA1E7}"/>
          </ac:picMkLst>
        </pc:picChg>
        <pc:picChg chg="add del mod">
          <ac:chgData name="Óscar Palomo Díaz" userId="d3c55112-9a8d-4689-970a-c1931af4e0c7" providerId="ADAL" clId="{1FC5B9FA-E64D-4F4E-8F09-84A02C85ABA6}" dt="2025-10-07T16:31:18.332" v="2628" actId="478"/>
          <ac:picMkLst>
            <pc:docMk/>
            <pc:sldMk cId="4278634767" sldId="4365"/>
            <ac:picMk id="47" creationId="{CAB85CFF-5CE2-9EC0-8C2E-E476890BF01D}"/>
          </ac:picMkLst>
        </pc:picChg>
        <pc:picChg chg="del">
          <ac:chgData name="Óscar Palomo Díaz" userId="d3c55112-9a8d-4689-970a-c1931af4e0c7" providerId="ADAL" clId="{1FC5B9FA-E64D-4F4E-8F09-84A02C85ABA6}" dt="2025-10-07T16:39:18.135" v="3025" actId="478"/>
          <ac:picMkLst>
            <pc:docMk/>
            <pc:sldMk cId="4278634767" sldId="4365"/>
            <ac:picMk id="93" creationId="{49E40215-9149-5B05-FECF-B3451B85C7E4}"/>
          </ac:picMkLst>
        </pc:picChg>
        <pc:picChg chg="del">
          <ac:chgData name="Óscar Palomo Díaz" userId="d3c55112-9a8d-4689-970a-c1931af4e0c7" providerId="ADAL" clId="{1FC5B9FA-E64D-4F4E-8F09-84A02C85ABA6}" dt="2025-10-07T16:38:01.693" v="2944" actId="478"/>
          <ac:picMkLst>
            <pc:docMk/>
            <pc:sldMk cId="4278634767" sldId="4365"/>
            <ac:picMk id="99" creationId="{7A265467-34CF-5075-8616-1A72E7D4215B}"/>
          </ac:picMkLst>
        </pc:picChg>
        <pc:picChg chg="del">
          <ac:chgData name="Óscar Palomo Díaz" userId="d3c55112-9a8d-4689-970a-c1931af4e0c7" providerId="ADAL" clId="{1FC5B9FA-E64D-4F4E-8F09-84A02C85ABA6}" dt="2025-10-07T16:39:10.368" v="3023" actId="478"/>
          <ac:picMkLst>
            <pc:docMk/>
            <pc:sldMk cId="4278634767" sldId="4365"/>
            <ac:picMk id="101" creationId="{67B1959E-5E34-3FFE-D205-7DB044D37B5B}"/>
          </ac:picMkLst>
        </pc:picChg>
      </pc:sldChg>
      <pc:sldChg chg="addSp delSp modSp add mod modAnim">
        <pc:chgData name="Óscar Palomo Díaz" userId="d3c55112-9a8d-4689-970a-c1931af4e0c7" providerId="ADAL" clId="{1FC5B9FA-E64D-4F4E-8F09-84A02C85ABA6}" dt="2025-10-07T16:30:14.966" v="2624" actId="20577"/>
        <pc:sldMkLst>
          <pc:docMk/>
          <pc:sldMk cId="1464185174" sldId="4366"/>
        </pc:sldMkLst>
        <pc:spChg chg="add mod">
          <ac:chgData name="Óscar Palomo Díaz" userId="d3c55112-9a8d-4689-970a-c1931af4e0c7" providerId="ADAL" clId="{1FC5B9FA-E64D-4F4E-8F09-84A02C85ABA6}" dt="2025-10-07T16:25:02.738" v="2347"/>
          <ac:spMkLst>
            <pc:docMk/>
            <pc:sldMk cId="1464185174" sldId="4366"/>
            <ac:spMk id="8" creationId="{ACC2CFDF-492A-B019-E5D0-E8E9285DF6CD}"/>
          </ac:spMkLst>
        </pc:spChg>
        <pc:spChg chg="mod">
          <ac:chgData name="Óscar Palomo Díaz" userId="d3c55112-9a8d-4689-970a-c1931af4e0c7" providerId="ADAL" clId="{1FC5B9FA-E64D-4F4E-8F09-84A02C85ABA6}" dt="2025-10-07T16:25:02.738" v="2347"/>
          <ac:spMkLst>
            <pc:docMk/>
            <pc:sldMk cId="1464185174" sldId="4366"/>
            <ac:spMk id="11" creationId="{392B84DE-20F4-8F96-62BB-A9E70DB90096}"/>
          </ac:spMkLst>
        </pc:spChg>
        <pc:spChg chg="mod">
          <ac:chgData name="Óscar Palomo Díaz" userId="d3c55112-9a8d-4689-970a-c1931af4e0c7" providerId="ADAL" clId="{1FC5B9FA-E64D-4F4E-8F09-84A02C85ABA6}" dt="2025-10-07T16:25:02.738" v="2347"/>
          <ac:spMkLst>
            <pc:docMk/>
            <pc:sldMk cId="1464185174" sldId="4366"/>
            <ac:spMk id="12" creationId="{A4FA030C-0CBC-E3B8-2DCF-521A18EF73A9}"/>
          </ac:spMkLst>
        </pc:spChg>
        <pc:spChg chg="add mod">
          <ac:chgData name="Óscar Palomo Díaz" userId="d3c55112-9a8d-4689-970a-c1931af4e0c7" providerId="ADAL" clId="{1FC5B9FA-E64D-4F4E-8F09-84A02C85ABA6}" dt="2025-10-07T16:30:14.966" v="2624" actId="20577"/>
          <ac:spMkLst>
            <pc:docMk/>
            <pc:sldMk cId="1464185174" sldId="4366"/>
            <ac:spMk id="13" creationId="{CFBAC8C5-A515-00B9-AD97-6AB8A54F2A49}"/>
          </ac:spMkLst>
        </pc:spChg>
        <pc:spChg chg="mod">
          <ac:chgData name="Óscar Palomo Díaz" userId="d3c55112-9a8d-4689-970a-c1931af4e0c7" providerId="ADAL" clId="{1FC5B9FA-E64D-4F4E-8F09-84A02C85ABA6}" dt="2025-10-07T16:25:06.566" v="2349"/>
          <ac:spMkLst>
            <pc:docMk/>
            <pc:sldMk cId="1464185174" sldId="4366"/>
            <ac:spMk id="15" creationId="{B95325AD-613B-4151-685E-BF9AFD047B64}"/>
          </ac:spMkLst>
        </pc:spChg>
        <pc:spChg chg="mod">
          <ac:chgData name="Óscar Palomo Díaz" userId="d3c55112-9a8d-4689-970a-c1931af4e0c7" providerId="ADAL" clId="{1FC5B9FA-E64D-4F4E-8F09-84A02C85ABA6}" dt="2025-10-07T16:25:06.566" v="2349"/>
          <ac:spMkLst>
            <pc:docMk/>
            <pc:sldMk cId="1464185174" sldId="4366"/>
            <ac:spMk id="16" creationId="{AF4053F4-E9BF-489C-9B14-3921A9638AE0}"/>
          </ac:spMkLst>
        </pc:spChg>
        <pc:spChg chg="del mod">
          <ac:chgData name="Óscar Palomo Díaz" userId="d3c55112-9a8d-4689-970a-c1931af4e0c7" providerId="ADAL" clId="{1FC5B9FA-E64D-4F4E-8F09-84A02C85ABA6}" dt="2025-10-07T16:25:02.376" v="2346" actId="478"/>
          <ac:spMkLst>
            <pc:docMk/>
            <pc:sldMk cId="1464185174" sldId="4366"/>
            <ac:spMk id="21" creationId="{B918C7AB-55FB-E391-305B-85387C4F810D}"/>
          </ac:spMkLst>
        </pc:spChg>
        <pc:spChg chg="del">
          <ac:chgData name="Óscar Palomo Díaz" userId="d3c55112-9a8d-4689-970a-c1931af4e0c7" providerId="ADAL" clId="{1FC5B9FA-E64D-4F4E-8F09-84A02C85ABA6}" dt="2025-10-07T16:25:11.127" v="2351" actId="478"/>
          <ac:spMkLst>
            <pc:docMk/>
            <pc:sldMk cId="1464185174" sldId="4366"/>
            <ac:spMk id="24" creationId="{BAC32916-9097-631A-64C7-DABE2465A35C}"/>
          </ac:spMkLst>
        </pc:spChg>
        <pc:spChg chg="del">
          <ac:chgData name="Óscar Palomo Díaz" userId="d3c55112-9a8d-4689-970a-c1931af4e0c7" providerId="ADAL" clId="{1FC5B9FA-E64D-4F4E-8F09-84A02C85ABA6}" dt="2025-10-07T16:25:10.094" v="2350" actId="478"/>
          <ac:spMkLst>
            <pc:docMk/>
            <pc:sldMk cId="1464185174" sldId="4366"/>
            <ac:spMk id="27" creationId="{1F2AAA8C-B0C2-32A8-D880-8951F114BDC2}"/>
          </ac:spMkLst>
        </pc:spChg>
        <pc:grpChg chg="add mod">
          <ac:chgData name="Óscar Palomo Díaz" userId="d3c55112-9a8d-4689-970a-c1931af4e0c7" providerId="ADAL" clId="{1FC5B9FA-E64D-4F4E-8F09-84A02C85ABA6}" dt="2025-10-07T16:25:02.738" v="2347"/>
          <ac:grpSpMkLst>
            <pc:docMk/>
            <pc:sldMk cId="1464185174" sldId="4366"/>
            <ac:grpSpMk id="10" creationId="{C50462A5-8070-941A-AF74-FBF3AC8E495D}"/>
          </ac:grpSpMkLst>
        </pc:grpChg>
        <pc:grpChg chg="add mod">
          <ac:chgData name="Óscar Palomo Díaz" userId="d3c55112-9a8d-4689-970a-c1931af4e0c7" providerId="ADAL" clId="{1FC5B9FA-E64D-4F4E-8F09-84A02C85ABA6}" dt="2025-10-07T16:25:06.566" v="2349"/>
          <ac:grpSpMkLst>
            <pc:docMk/>
            <pc:sldMk cId="1464185174" sldId="4366"/>
            <ac:grpSpMk id="14" creationId="{F931D80A-5AE7-5CA5-85D8-4379C3904A07}"/>
          </ac:grpSpMkLst>
        </pc:grpChg>
        <pc:picChg chg="add del mod">
          <ac:chgData name="Óscar Palomo Díaz" userId="d3c55112-9a8d-4689-970a-c1931af4e0c7" providerId="ADAL" clId="{1FC5B9FA-E64D-4F4E-8F09-84A02C85ABA6}" dt="2025-10-07T16:26:01.721" v="2354" actId="478"/>
          <ac:picMkLst>
            <pc:docMk/>
            <pc:sldMk cId="1464185174" sldId="4366"/>
            <ac:picMk id="17" creationId="{2B9FBD45-C2F2-B104-E12A-8582E562010C}"/>
          </ac:picMkLst>
        </pc:picChg>
        <pc:picChg chg="add del mod">
          <ac:chgData name="Óscar Palomo Díaz" userId="d3c55112-9a8d-4689-970a-c1931af4e0c7" providerId="ADAL" clId="{1FC5B9FA-E64D-4F4E-8F09-84A02C85ABA6}" dt="2025-10-07T16:26:01.721" v="2354" actId="478"/>
          <ac:picMkLst>
            <pc:docMk/>
            <pc:sldMk cId="1464185174" sldId="4366"/>
            <ac:picMk id="18" creationId="{257FF1C8-2A85-AE1C-2D41-880E2AFA5C9B}"/>
          </ac:picMkLst>
        </pc:picChg>
        <pc:picChg chg="del">
          <ac:chgData name="Óscar Palomo Díaz" userId="d3c55112-9a8d-4689-970a-c1931af4e0c7" providerId="ADAL" clId="{1FC5B9FA-E64D-4F4E-8F09-84A02C85ABA6}" dt="2025-10-07T16:24:45.288" v="2342" actId="478"/>
          <ac:picMkLst>
            <pc:docMk/>
            <pc:sldMk cId="1464185174" sldId="4366"/>
            <ac:picMk id="19" creationId="{4C29A929-F920-1AEB-5ABD-B0E141B66375}"/>
          </ac:picMkLst>
        </pc:picChg>
        <pc:picChg chg="add del mod">
          <ac:chgData name="Óscar Palomo Díaz" userId="d3c55112-9a8d-4689-970a-c1931af4e0c7" providerId="ADAL" clId="{1FC5B9FA-E64D-4F4E-8F09-84A02C85ABA6}" dt="2025-10-07T16:26:01.721" v="2354" actId="478"/>
          <ac:picMkLst>
            <pc:docMk/>
            <pc:sldMk cId="1464185174" sldId="4366"/>
            <ac:picMk id="20" creationId="{BFD5F2E5-354F-CA82-BB7E-6906B4320704}"/>
          </ac:picMkLst>
        </pc:picChg>
        <pc:picChg chg="del">
          <ac:chgData name="Óscar Palomo Díaz" userId="d3c55112-9a8d-4689-970a-c1931af4e0c7" providerId="ADAL" clId="{1FC5B9FA-E64D-4F4E-8F09-84A02C85ABA6}" dt="2025-10-07T16:24:48.500" v="2344" actId="478"/>
          <ac:picMkLst>
            <pc:docMk/>
            <pc:sldMk cId="1464185174" sldId="4366"/>
            <ac:picMk id="22" creationId="{C186367C-8042-C04B-726F-8EF86F0B4579}"/>
          </ac:picMkLst>
        </pc:picChg>
        <pc:picChg chg="add mod">
          <ac:chgData name="Óscar Palomo Díaz" userId="d3c55112-9a8d-4689-970a-c1931af4e0c7" providerId="ADAL" clId="{1FC5B9FA-E64D-4F4E-8F09-84A02C85ABA6}" dt="2025-10-07T16:26:02.327" v="2355"/>
          <ac:picMkLst>
            <pc:docMk/>
            <pc:sldMk cId="1464185174" sldId="4366"/>
            <ac:picMk id="23" creationId="{204775E3-F37C-AABB-0734-B3DBC89340CC}"/>
          </ac:picMkLst>
        </pc:picChg>
        <pc:picChg chg="del">
          <ac:chgData name="Óscar Palomo Díaz" userId="d3c55112-9a8d-4689-970a-c1931af4e0c7" providerId="ADAL" clId="{1FC5B9FA-E64D-4F4E-8F09-84A02C85ABA6}" dt="2025-10-07T16:24:47.483" v="2343" actId="478"/>
          <ac:picMkLst>
            <pc:docMk/>
            <pc:sldMk cId="1464185174" sldId="4366"/>
            <ac:picMk id="25" creationId="{97190F9C-D80D-2800-7582-9671A0CB4D9E}"/>
          </ac:picMkLst>
        </pc:picChg>
        <pc:picChg chg="add mod">
          <ac:chgData name="Óscar Palomo Díaz" userId="d3c55112-9a8d-4689-970a-c1931af4e0c7" providerId="ADAL" clId="{1FC5B9FA-E64D-4F4E-8F09-84A02C85ABA6}" dt="2025-10-07T16:26:02.327" v="2355"/>
          <ac:picMkLst>
            <pc:docMk/>
            <pc:sldMk cId="1464185174" sldId="4366"/>
            <ac:picMk id="26" creationId="{7B384CD1-B915-71CE-128C-0416411A82CD}"/>
          </ac:picMkLst>
        </pc:picChg>
        <pc:picChg chg="add mod">
          <ac:chgData name="Óscar Palomo Díaz" userId="d3c55112-9a8d-4689-970a-c1931af4e0c7" providerId="ADAL" clId="{1FC5B9FA-E64D-4F4E-8F09-84A02C85ABA6}" dt="2025-10-07T16:26:02.327" v="2355"/>
          <ac:picMkLst>
            <pc:docMk/>
            <pc:sldMk cId="1464185174" sldId="4366"/>
            <ac:picMk id="28" creationId="{4A34B594-AB37-866E-1D0A-C0D388114FBA}"/>
          </ac:picMkLst>
        </pc:picChg>
      </pc:sldChg>
      <pc:sldChg chg="add del">
        <pc:chgData name="Óscar Palomo Díaz" userId="d3c55112-9a8d-4689-970a-c1931af4e0c7" providerId="ADAL" clId="{1FC5B9FA-E64D-4F4E-8F09-84A02C85ABA6}" dt="2025-10-07T16:23:58.647" v="2334"/>
        <pc:sldMkLst>
          <pc:docMk/>
          <pc:sldMk cId="2633002188" sldId="4366"/>
        </pc:sldMkLst>
      </pc:sldChg>
      <pc:sldChg chg="add del">
        <pc:chgData name="Óscar Palomo Díaz" userId="d3c55112-9a8d-4689-970a-c1931af4e0c7" providerId="ADAL" clId="{1FC5B9FA-E64D-4F4E-8F09-84A02C85ABA6}" dt="2025-10-07T16:23:56.890" v="2332"/>
        <pc:sldMkLst>
          <pc:docMk/>
          <pc:sldMk cId="4032186509" sldId="4366"/>
        </pc:sldMkLst>
      </pc:sldChg>
      <pc:sldMasterChg chg="modSldLayout">
        <pc:chgData name="Óscar Palomo Díaz" userId="d3c55112-9a8d-4689-970a-c1931af4e0c7" providerId="ADAL" clId="{1FC5B9FA-E64D-4F4E-8F09-84A02C85ABA6}" dt="2025-10-07T15:48:50.349" v="529"/>
        <pc:sldMasterMkLst>
          <pc:docMk/>
          <pc:sldMasterMk cId="3026860636" sldId="2147483710"/>
        </pc:sldMasterMkLst>
        <pc:sldLayoutChg chg="addSp modSp mod">
          <pc:chgData name="Óscar Palomo Díaz" userId="d3c55112-9a8d-4689-970a-c1931af4e0c7" providerId="ADAL" clId="{1FC5B9FA-E64D-4F4E-8F09-84A02C85ABA6}" dt="2025-10-07T15:40:47.110" v="336" actId="1076"/>
          <pc:sldLayoutMkLst>
            <pc:docMk/>
            <pc:sldMasterMk cId="3026860636" sldId="2147483710"/>
            <pc:sldLayoutMk cId="2055307452" sldId="2147483711"/>
          </pc:sldLayoutMkLst>
          <pc:picChg chg="add mod">
            <ac:chgData name="Óscar Palomo Díaz" userId="d3c55112-9a8d-4689-970a-c1931af4e0c7" providerId="ADAL" clId="{1FC5B9FA-E64D-4F4E-8F09-84A02C85ABA6}" dt="2025-10-07T15:40:47.110" v="336" actId="1076"/>
            <ac:picMkLst>
              <pc:docMk/>
              <pc:sldMasterMk cId="3026860636" sldId="2147483710"/>
              <pc:sldLayoutMk cId="2055307452" sldId="2147483711"/>
              <ac:picMk id="4" creationId="{D64E6343-6A31-9606-2F4C-36F9FD8334AE}"/>
            </ac:picMkLst>
          </pc:picChg>
          <pc:picChg chg="add mod">
            <ac:chgData name="Óscar Palomo Díaz" userId="d3c55112-9a8d-4689-970a-c1931af4e0c7" providerId="ADAL" clId="{1FC5B9FA-E64D-4F4E-8F09-84A02C85ABA6}" dt="2025-10-07T15:40:47.110" v="336" actId="1076"/>
            <ac:picMkLst>
              <pc:docMk/>
              <pc:sldMasterMk cId="3026860636" sldId="2147483710"/>
              <pc:sldLayoutMk cId="2055307452" sldId="2147483711"/>
              <ac:picMk id="6" creationId="{0725B6F8-DEB9-E537-76CC-18BA3ACDAA55}"/>
            </ac:picMkLst>
          </pc:picChg>
          <pc:picChg chg="add mod">
            <ac:chgData name="Óscar Palomo Díaz" userId="d3c55112-9a8d-4689-970a-c1931af4e0c7" providerId="ADAL" clId="{1FC5B9FA-E64D-4F4E-8F09-84A02C85ABA6}" dt="2025-10-07T15:40:47.110" v="336" actId="1076"/>
            <ac:picMkLst>
              <pc:docMk/>
              <pc:sldMasterMk cId="3026860636" sldId="2147483710"/>
              <pc:sldLayoutMk cId="2055307452" sldId="2147483711"/>
              <ac:picMk id="9" creationId="{921A6655-BE72-52DC-DEE0-EB111363476D}"/>
            </ac:picMkLst>
          </pc:picChg>
        </pc:sldLayoutChg>
        <pc:sldLayoutChg chg="addSp delSp modSp mod">
          <pc:chgData name="Óscar Palomo Díaz" userId="d3c55112-9a8d-4689-970a-c1931af4e0c7" providerId="ADAL" clId="{1FC5B9FA-E64D-4F4E-8F09-84A02C85ABA6}" dt="2025-10-07T15:41:21.198" v="368" actId="1037"/>
          <pc:sldLayoutMkLst>
            <pc:docMk/>
            <pc:sldMasterMk cId="3026860636" sldId="2147483710"/>
            <pc:sldLayoutMk cId="2277748950" sldId="2147483712"/>
          </pc:sldLayoutMkLst>
          <pc:picChg chg="add mod">
            <ac:chgData name="Óscar Palomo Díaz" userId="d3c55112-9a8d-4689-970a-c1931af4e0c7" providerId="ADAL" clId="{1FC5B9FA-E64D-4F4E-8F09-84A02C85ABA6}" dt="2025-10-07T15:41:21.198" v="368" actId="1037"/>
            <ac:picMkLst>
              <pc:docMk/>
              <pc:sldMasterMk cId="3026860636" sldId="2147483710"/>
              <pc:sldLayoutMk cId="2277748950" sldId="2147483712"/>
              <ac:picMk id="2" creationId="{6168FEE7-71C5-C53E-77CF-2794F8C0BDA8}"/>
            </ac:picMkLst>
          </pc:picChg>
          <pc:picChg chg="add mod">
            <ac:chgData name="Óscar Palomo Díaz" userId="d3c55112-9a8d-4689-970a-c1931af4e0c7" providerId="ADAL" clId="{1FC5B9FA-E64D-4F4E-8F09-84A02C85ABA6}" dt="2025-10-07T15:41:21.198" v="368" actId="1037"/>
            <ac:picMkLst>
              <pc:docMk/>
              <pc:sldMasterMk cId="3026860636" sldId="2147483710"/>
              <pc:sldLayoutMk cId="2277748950" sldId="2147483712"/>
              <ac:picMk id="4" creationId="{BA61F860-140A-44C1-2B30-16A6F1ECE6B9}"/>
            </ac:picMkLst>
          </pc:picChg>
          <pc:picChg chg="del">
            <ac:chgData name="Óscar Palomo Díaz" userId="d3c55112-9a8d-4689-970a-c1931af4e0c7" providerId="ADAL" clId="{1FC5B9FA-E64D-4F4E-8F09-84A02C85ABA6}" dt="2025-10-07T15:40:30.487" v="329" actId="478"/>
            <ac:picMkLst>
              <pc:docMk/>
              <pc:sldMasterMk cId="3026860636" sldId="2147483710"/>
              <pc:sldLayoutMk cId="2277748950" sldId="2147483712"/>
              <ac:picMk id="5" creationId="{754D2C11-DDD0-76F4-BB29-11F2F963250B}"/>
            </ac:picMkLst>
          </pc:picChg>
          <pc:picChg chg="add mod">
            <ac:chgData name="Óscar Palomo Díaz" userId="d3c55112-9a8d-4689-970a-c1931af4e0c7" providerId="ADAL" clId="{1FC5B9FA-E64D-4F4E-8F09-84A02C85ABA6}" dt="2025-10-07T15:41:21.198" v="368" actId="1037"/>
            <ac:picMkLst>
              <pc:docMk/>
              <pc:sldMasterMk cId="3026860636" sldId="2147483710"/>
              <pc:sldLayoutMk cId="2277748950" sldId="2147483712"/>
              <ac:picMk id="6" creationId="{89C4FD83-DCEC-6823-CE8A-EF099A4B3844}"/>
            </ac:picMkLst>
          </pc:picChg>
        </pc:sldLayoutChg>
        <pc:sldLayoutChg chg="addSp delSp modSp mod">
          <pc:chgData name="Óscar Palomo Díaz" userId="d3c55112-9a8d-4689-970a-c1931af4e0c7" providerId="ADAL" clId="{1FC5B9FA-E64D-4F4E-8F09-84A02C85ABA6}" dt="2025-10-07T15:41:48.371" v="376"/>
          <pc:sldLayoutMkLst>
            <pc:docMk/>
            <pc:sldMasterMk cId="3026860636" sldId="2147483710"/>
            <pc:sldLayoutMk cId="1615943901" sldId="2147483721"/>
          </pc:sldLayoutMkLst>
          <pc:picChg chg="add mod">
            <ac:chgData name="Óscar Palomo Díaz" userId="d3c55112-9a8d-4689-970a-c1931af4e0c7" providerId="ADAL" clId="{1FC5B9FA-E64D-4F4E-8F09-84A02C85ABA6}" dt="2025-10-07T15:41:48.371" v="376"/>
            <ac:picMkLst>
              <pc:docMk/>
              <pc:sldMasterMk cId="3026860636" sldId="2147483710"/>
              <pc:sldLayoutMk cId="1615943901" sldId="2147483721"/>
              <ac:picMk id="2" creationId="{2A34036B-DC98-B2F8-ECBE-74A7D6145801}"/>
            </ac:picMkLst>
          </pc:picChg>
          <pc:picChg chg="add mod">
            <ac:chgData name="Óscar Palomo Díaz" userId="d3c55112-9a8d-4689-970a-c1931af4e0c7" providerId="ADAL" clId="{1FC5B9FA-E64D-4F4E-8F09-84A02C85ABA6}" dt="2025-10-07T15:41:48.371" v="376"/>
            <ac:picMkLst>
              <pc:docMk/>
              <pc:sldMasterMk cId="3026860636" sldId="2147483710"/>
              <pc:sldLayoutMk cId="1615943901" sldId="2147483721"/>
              <ac:picMk id="4" creationId="{0C448490-13BF-7415-0821-67BCFB260722}"/>
            </ac:picMkLst>
          </pc:picChg>
          <pc:picChg chg="add mod">
            <ac:chgData name="Óscar Palomo Díaz" userId="d3c55112-9a8d-4689-970a-c1931af4e0c7" providerId="ADAL" clId="{1FC5B9FA-E64D-4F4E-8F09-84A02C85ABA6}" dt="2025-10-07T15:41:48.371" v="376"/>
            <ac:picMkLst>
              <pc:docMk/>
              <pc:sldMasterMk cId="3026860636" sldId="2147483710"/>
              <pc:sldLayoutMk cId="1615943901" sldId="2147483721"/>
              <ac:picMk id="5" creationId="{391A92EB-A5A4-163F-4CD2-77D9314ABE14}"/>
            </ac:picMkLst>
          </pc:picChg>
          <pc:picChg chg="del">
            <ac:chgData name="Óscar Palomo Díaz" userId="d3c55112-9a8d-4689-970a-c1931af4e0c7" providerId="ADAL" clId="{1FC5B9FA-E64D-4F4E-8F09-84A02C85ABA6}" dt="2025-10-07T15:40:36.310" v="332" actId="478"/>
            <ac:picMkLst>
              <pc:docMk/>
              <pc:sldMasterMk cId="3026860636" sldId="2147483710"/>
              <pc:sldLayoutMk cId="1615943901" sldId="2147483721"/>
              <ac:picMk id="8" creationId="{A2CB1D48-E6FA-D144-8B18-EDCA2E3CEC23}"/>
            </ac:picMkLst>
          </pc:picChg>
        </pc:sldLayoutChg>
        <pc:sldLayoutChg chg="addSp delSp modSp mod">
          <pc:chgData name="Óscar Palomo Díaz" userId="d3c55112-9a8d-4689-970a-c1931af4e0c7" providerId="ADAL" clId="{1FC5B9FA-E64D-4F4E-8F09-84A02C85ABA6}" dt="2025-10-07T15:41:40.756" v="372" actId="478"/>
          <pc:sldLayoutMkLst>
            <pc:docMk/>
            <pc:sldMasterMk cId="3026860636" sldId="2147483710"/>
            <pc:sldLayoutMk cId="3395133663" sldId="2147483724"/>
          </pc:sldLayoutMkLst>
          <pc:picChg chg="add mod">
            <ac:chgData name="Óscar Palomo Díaz" userId="d3c55112-9a8d-4689-970a-c1931af4e0c7" providerId="ADAL" clId="{1FC5B9FA-E64D-4F4E-8F09-84A02C85ABA6}" dt="2025-10-07T15:40:58.031" v="338"/>
            <ac:picMkLst>
              <pc:docMk/>
              <pc:sldMasterMk cId="3026860636" sldId="2147483710"/>
              <pc:sldLayoutMk cId="3395133663" sldId="2147483724"/>
              <ac:picMk id="2" creationId="{2F7D7A0A-91F0-96D7-59DA-2AD3311030AD}"/>
            </ac:picMkLst>
          </pc:picChg>
          <pc:picChg chg="del">
            <ac:chgData name="Óscar Palomo Díaz" userId="d3c55112-9a8d-4689-970a-c1931af4e0c7" providerId="ADAL" clId="{1FC5B9FA-E64D-4F4E-8F09-84A02C85ABA6}" dt="2025-10-07T15:40:28.381" v="328" actId="478"/>
            <ac:picMkLst>
              <pc:docMk/>
              <pc:sldMasterMk cId="3026860636" sldId="2147483710"/>
              <pc:sldLayoutMk cId="3395133663" sldId="2147483724"/>
              <ac:picMk id="5" creationId="{51D2E3B8-D664-F402-9D41-6580B259F3EC}"/>
            </ac:picMkLst>
          </pc:picChg>
          <pc:picChg chg="add mod">
            <ac:chgData name="Óscar Palomo Díaz" userId="d3c55112-9a8d-4689-970a-c1931af4e0c7" providerId="ADAL" clId="{1FC5B9FA-E64D-4F4E-8F09-84A02C85ABA6}" dt="2025-10-07T15:40:58.031" v="338"/>
            <ac:picMkLst>
              <pc:docMk/>
              <pc:sldMasterMk cId="3026860636" sldId="2147483710"/>
              <pc:sldLayoutMk cId="3395133663" sldId="2147483724"/>
              <ac:picMk id="6" creationId="{8EFC8488-F409-CB64-9F09-B3AB6C9630F8}"/>
            </ac:picMkLst>
          </pc:picChg>
          <pc:picChg chg="add mod">
            <ac:chgData name="Óscar Palomo Díaz" userId="d3c55112-9a8d-4689-970a-c1931af4e0c7" providerId="ADAL" clId="{1FC5B9FA-E64D-4F4E-8F09-84A02C85ABA6}" dt="2025-10-07T15:40:58.031" v="338"/>
            <ac:picMkLst>
              <pc:docMk/>
              <pc:sldMasterMk cId="3026860636" sldId="2147483710"/>
              <pc:sldLayoutMk cId="3395133663" sldId="2147483724"/>
              <ac:picMk id="9" creationId="{B269178F-083B-8A2C-165F-AF4E97EE8F16}"/>
            </ac:picMkLst>
          </pc:picChg>
          <pc:picChg chg="add del mod">
            <ac:chgData name="Óscar Palomo Díaz" userId="d3c55112-9a8d-4689-970a-c1931af4e0c7" providerId="ADAL" clId="{1FC5B9FA-E64D-4F4E-8F09-84A02C85ABA6}" dt="2025-10-07T15:41:40.756" v="372" actId="478"/>
            <ac:picMkLst>
              <pc:docMk/>
              <pc:sldMasterMk cId="3026860636" sldId="2147483710"/>
              <pc:sldLayoutMk cId="3395133663" sldId="2147483724"/>
              <ac:picMk id="10" creationId="{16F75846-90F1-820F-7871-29A8A3448DB5}"/>
            </ac:picMkLst>
          </pc:picChg>
          <pc:picChg chg="add del mod">
            <ac:chgData name="Óscar Palomo Díaz" userId="d3c55112-9a8d-4689-970a-c1931af4e0c7" providerId="ADAL" clId="{1FC5B9FA-E64D-4F4E-8F09-84A02C85ABA6}" dt="2025-10-07T15:41:40.756" v="372" actId="478"/>
            <ac:picMkLst>
              <pc:docMk/>
              <pc:sldMasterMk cId="3026860636" sldId="2147483710"/>
              <pc:sldLayoutMk cId="3395133663" sldId="2147483724"/>
              <ac:picMk id="11" creationId="{1294A110-559E-2A98-D0DC-C00F81D57C99}"/>
            </ac:picMkLst>
          </pc:picChg>
          <pc:picChg chg="add del mod">
            <ac:chgData name="Óscar Palomo Díaz" userId="d3c55112-9a8d-4689-970a-c1931af4e0c7" providerId="ADAL" clId="{1FC5B9FA-E64D-4F4E-8F09-84A02C85ABA6}" dt="2025-10-07T15:41:40.756" v="372" actId="478"/>
            <ac:picMkLst>
              <pc:docMk/>
              <pc:sldMasterMk cId="3026860636" sldId="2147483710"/>
              <pc:sldLayoutMk cId="3395133663" sldId="2147483724"/>
              <ac:picMk id="12" creationId="{89571A44-080D-B38C-F9AD-BE3D0E2CC662}"/>
            </ac:picMkLst>
          </pc:picChg>
          <pc:picChg chg="add mod">
            <ac:chgData name="Óscar Palomo Díaz" userId="d3c55112-9a8d-4689-970a-c1931af4e0c7" providerId="ADAL" clId="{1FC5B9FA-E64D-4F4E-8F09-84A02C85ABA6}" dt="2025-10-07T15:41:25.834" v="370"/>
            <ac:picMkLst>
              <pc:docMk/>
              <pc:sldMasterMk cId="3026860636" sldId="2147483710"/>
              <pc:sldLayoutMk cId="3395133663" sldId="2147483724"/>
              <ac:picMk id="13" creationId="{02CEF789-F2FA-A494-4349-35837D8B6C9F}"/>
            </ac:picMkLst>
          </pc:picChg>
          <pc:picChg chg="add mod">
            <ac:chgData name="Óscar Palomo Díaz" userId="d3c55112-9a8d-4689-970a-c1931af4e0c7" providerId="ADAL" clId="{1FC5B9FA-E64D-4F4E-8F09-84A02C85ABA6}" dt="2025-10-07T15:41:25.834" v="370"/>
            <ac:picMkLst>
              <pc:docMk/>
              <pc:sldMasterMk cId="3026860636" sldId="2147483710"/>
              <pc:sldLayoutMk cId="3395133663" sldId="2147483724"/>
              <ac:picMk id="14" creationId="{03186A0B-DCB2-0042-0278-9E40E827B07D}"/>
            </ac:picMkLst>
          </pc:picChg>
          <pc:picChg chg="add mod">
            <ac:chgData name="Óscar Palomo Díaz" userId="d3c55112-9a8d-4689-970a-c1931af4e0c7" providerId="ADAL" clId="{1FC5B9FA-E64D-4F4E-8F09-84A02C85ABA6}" dt="2025-10-07T15:41:25.834" v="370"/>
            <ac:picMkLst>
              <pc:docMk/>
              <pc:sldMasterMk cId="3026860636" sldId="2147483710"/>
              <pc:sldLayoutMk cId="3395133663" sldId="2147483724"/>
              <ac:picMk id="16" creationId="{8F75F5A3-6317-E09A-08FF-DEDEAB558777}"/>
            </ac:picMkLst>
          </pc:picChg>
        </pc:sldLayoutChg>
        <pc:sldLayoutChg chg="addSp delSp modSp mod">
          <pc:chgData name="Óscar Palomo Díaz" userId="d3c55112-9a8d-4689-970a-c1931af4e0c7" providerId="ADAL" clId="{1FC5B9FA-E64D-4F4E-8F09-84A02C85ABA6}" dt="2025-10-07T15:48:46.884" v="527"/>
          <pc:sldLayoutMkLst>
            <pc:docMk/>
            <pc:sldMasterMk cId="3026860636" sldId="2147483710"/>
            <pc:sldLayoutMk cId="564691470" sldId="2147483725"/>
          </pc:sldLayoutMkLst>
          <pc:picChg chg="del">
            <ac:chgData name="Óscar Palomo Díaz" userId="d3c55112-9a8d-4689-970a-c1931af4e0c7" providerId="ADAL" clId="{1FC5B9FA-E64D-4F4E-8F09-84A02C85ABA6}" dt="2025-10-07T15:40:37.534" v="333" actId="478"/>
            <ac:picMkLst>
              <pc:docMk/>
              <pc:sldMasterMk cId="3026860636" sldId="2147483710"/>
              <pc:sldLayoutMk cId="564691470" sldId="2147483725"/>
              <ac:picMk id="5" creationId="{754D2C11-DDD0-76F4-BB29-11F2F963250B}"/>
            </ac:picMkLst>
          </pc:picChg>
          <pc:picChg chg="add del mod">
            <ac:chgData name="Óscar Palomo Díaz" userId="d3c55112-9a8d-4689-970a-c1931af4e0c7" providerId="ADAL" clId="{1FC5B9FA-E64D-4F4E-8F09-84A02C85ABA6}" dt="2025-10-07T15:48:46.575" v="526" actId="478"/>
            <ac:picMkLst>
              <pc:docMk/>
              <pc:sldMasterMk cId="3026860636" sldId="2147483710"/>
              <pc:sldLayoutMk cId="564691470" sldId="2147483725"/>
              <ac:picMk id="13" creationId="{ADA6BA4A-DBA7-F23F-4A00-F1D757E075EC}"/>
            </ac:picMkLst>
          </pc:picChg>
          <pc:picChg chg="add del mod">
            <ac:chgData name="Óscar Palomo Díaz" userId="d3c55112-9a8d-4689-970a-c1931af4e0c7" providerId="ADAL" clId="{1FC5B9FA-E64D-4F4E-8F09-84A02C85ABA6}" dt="2025-10-07T15:48:46.575" v="526" actId="478"/>
            <ac:picMkLst>
              <pc:docMk/>
              <pc:sldMasterMk cId="3026860636" sldId="2147483710"/>
              <pc:sldLayoutMk cId="564691470" sldId="2147483725"/>
              <ac:picMk id="14" creationId="{C6326698-CFF5-D529-7C75-55EF71115608}"/>
            </ac:picMkLst>
          </pc:picChg>
          <pc:picChg chg="add del mod">
            <ac:chgData name="Óscar Palomo Díaz" userId="d3c55112-9a8d-4689-970a-c1931af4e0c7" providerId="ADAL" clId="{1FC5B9FA-E64D-4F4E-8F09-84A02C85ABA6}" dt="2025-10-07T15:48:46.575" v="526" actId="478"/>
            <ac:picMkLst>
              <pc:docMk/>
              <pc:sldMasterMk cId="3026860636" sldId="2147483710"/>
              <pc:sldLayoutMk cId="564691470" sldId="2147483725"/>
              <ac:picMk id="15" creationId="{9AB57589-5AC2-0314-12D3-80A780FECE1B}"/>
            </ac:picMkLst>
          </pc:picChg>
          <pc:picChg chg="add mod">
            <ac:chgData name="Óscar Palomo Díaz" userId="d3c55112-9a8d-4689-970a-c1931af4e0c7" providerId="ADAL" clId="{1FC5B9FA-E64D-4F4E-8F09-84A02C85ABA6}" dt="2025-10-07T15:48:46.884" v="527"/>
            <ac:picMkLst>
              <pc:docMk/>
              <pc:sldMasterMk cId="3026860636" sldId="2147483710"/>
              <pc:sldLayoutMk cId="564691470" sldId="2147483725"/>
              <ac:picMk id="16" creationId="{A2FB2512-5A49-B571-6311-18EC0F21578C}"/>
            </ac:picMkLst>
          </pc:picChg>
          <pc:picChg chg="add mod">
            <ac:chgData name="Óscar Palomo Díaz" userId="d3c55112-9a8d-4689-970a-c1931af4e0c7" providerId="ADAL" clId="{1FC5B9FA-E64D-4F4E-8F09-84A02C85ABA6}" dt="2025-10-07T15:48:46.884" v="527"/>
            <ac:picMkLst>
              <pc:docMk/>
              <pc:sldMasterMk cId="3026860636" sldId="2147483710"/>
              <pc:sldLayoutMk cId="564691470" sldId="2147483725"/>
              <ac:picMk id="17" creationId="{51DE9A57-09E6-64E4-C26C-FF8A1E08CD9F}"/>
            </ac:picMkLst>
          </pc:picChg>
          <pc:picChg chg="add mod">
            <ac:chgData name="Óscar Palomo Díaz" userId="d3c55112-9a8d-4689-970a-c1931af4e0c7" providerId="ADAL" clId="{1FC5B9FA-E64D-4F4E-8F09-84A02C85ABA6}" dt="2025-10-07T15:48:46.884" v="527"/>
            <ac:picMkLst>
              <pc:docMk/>
              <pc:sldMasterMk cId="3026860636" sldId="2147483710"/>
              <pc:sldLayoutMk cId="564691470" sldId="2147483725"/>
              <ac:picMk id="18" creationId="{6853CA26-60E5-9D8E-9724-2922E1BEB266}"/>
            </ac:picMkLst>
          </pc:picChg>
        </pc:sldLayoutChg>
        <pc:sldLayoutChg chg="addSp delSp modSp mod">
          <pc:chgData name="Óscar Palomo Díaz" userId="d3c55112-9a8d-4689-970a-c1931af4e0c7" providerId="ADAL" clId="{1FC5B9FA-E64D-4F4E-8F09-84A02C85ABA6}" dt="2025-10-07T15:41:35.079" v="371"/>
          <pc:sldLayoutMkLst>
            <pc:docMk/>
            <pc:sldMasterMk cId="3026860636" sldId="2147483710"/>
            <pc:sldLayoutMk cId="3398900437" sldId="2147483726"/>
          </pc:sldLayoutMkLst>
          <pc:picChg chg="add mod">
            <ac:chgData name="Óscar Palomo Díaz" userId="d3c55112-9a8d-4689-970a-c1931af4e0c7" providerId="ADAL" clId="{1FC5B9FA-E64D-4F4E-8F09-84A02C85ABA6}" dt="2025-10-07T15:40:53.915" v="337"/>
            <ac:picMkLst>
              <pc:docMk/>
              <pc:sldMasterMk cId="3026860636" sldId="2147483710"/>
              <pc:sldLayoutMk cId="3398900437" sldId="2147483726"/>
              <ac:picMk id="4" creationId="{6C1D913E-E8A5-7669-BA30-B988FB084A6F}"/>
            </ac:picMkLst>
          </pc:picChg>
          <pc:picChg chg="del">
            <ac:chgData name="Óscar Palomo Díaz" userId="d3c55112-9a8d-4689-970a-c1931af4e0c7" providerId="ADAL" clId="{1FC5B9FA-E64D-4F4E-8F09-84A02C85ABA6}" dt="2025-10-07T15:40:26.719" v="327" actId="478"/>
            <ac:picMkLst>
              <pc:docMk/>
              <pc:sldMasterMk cId="3026860636" sldId="2147483710"/>
              <pc:sldLayoutMk cId="3398900437" sldId="2147483726"/>
              <ac:picMk id="5" creationId="{51D2E3B8-D664-F402-9D41-6580B259F3EC}"/>
            </ac:picMkLst>
          </pc:picChg>
          <pc:picChg chg="add mod">
            <ac:chgData name="Óscar Palomo Díaz" userId="d3c55112-9a8d-4689-970a-c1931af4e0c7" providerId="ADAL" clId="{1FC5B9FA-E64D-4F4E-8F09-84A02C85ABA6}" dt="2025-10-07T15:40:53.915" v="337"/>
            <ac:picMkLst>
              <pc:docMk/>
              <pc:sldMasterMk cId="3026860636" sldId="2147483710"/>
              <pc:sldLayoutMk cId="3398900437" sldId="2147483726"/>
              <ac:picMk id="9" creationId="{487A3D4D-818A-9981-7AAC-1BDBA2BEA3FF}"/>
            </ac:picMkLst>
          </pc:picChg>
          <pc:picChg chg="add mod">
            <ac:chgData name="Óscar Palomo Díaz" userId="d3c55112-9a8d-4689-970a-c1931af4e0c7" providerId="ADAL" clId="{1FC5B9FA-E64D-4F4E-8F09-84A02C85ABA6}" dt="2025-10-07T15:40:53.915" v="337"/>
            <ac:picMkLst>
              <pc:docMk/>
              <pc:sldMasterMk cId="3026860636" sldId="2147483710"/>
              <pc:sldLayoutMk cId="3398900437" sldId="2147483726"/>
              <ac:picMk id="14" creationId="{CCC8D921-0208-7ACB-CE39-7DD3ECDF57A9}"/>
            </ac:picMkLst>
          </pc:picChg>
          <pc:picChg chg="add mod">
            <ac:chgData name="Óscar Palomo Díaz" userId="d3c55112-9a8d-4689-970a-c1931af4e0c7" providerId="ADAL" clId="{1FC5B9FA-E64D-4F4E-8F09-84A02C85ABA6}" dt="2025-10-07T15:41:35.079" v="371"/>
            <ac:picMkLst>
              <pc:docMk/>
              <pc:sldMasterMk cId="3026860636" sldId="2147483710"/>
              <pc:sldLayoutMk cId="3398900437" sldId="2147483726"/>
              <ac:picMk id="15" creationId="{A12EBBC4-F72E-C8C5-3AEC-BFED7AD87650}"/>
            </ac:picMkLst>
          </pc:picChg>
          <pc:picChg chg="add mod">
            <ac:chgData name="Óscar Palomo Díaz" userId="d3c55112-9a8d-4689-970a-c1931af4e0c7" providerId="ADAL" clId="{1FC5B9FA-E64D-4F4E-8F09-84A02C85ABA6}" dt="2025-10-07T15:41:35.079" v="371"/>
            <ac:picMkLst>
              <pc:docMk/>
              <pc:sldMasterMk cId="3026860636" sldId="2147483710"/>
              <pc:sldLayoutMk cId="3398900437" sldId="2147483726"/>
              <ac:picMk id="16" creationId="{2076AA33-DFB8-8A47-EDFB-9F54BB806644}"/>
            </ac:picMkLst>
          </pc:picChg>
          <pc:picChg chg="add mod">
            <ac:chgData name="Óscar Palomo Díaz" userId="d3c55112-9a8d-4689-970a-c1931af4e0c7" providerId="ADAL" clId="{1FC5B9FA-E64D-4F4E-8F09-84A02C85ABA6}" dt="2025-10-07T15:41:35.079" v="371"/>
            <ac:picMkLst>
              <pc:docMk/>
              <pc:sldMasterMk cId="3026860636" sldId="2147483710"/>
              <pc:sldLayoutMk cId="3398900437" sldId="2147483726"/>
              <ac:picMk id="17" creationId="{1AD3DC2A-D007-FB76-60DE-07DAB437498E}"/>
            </ac:picMkLst>
          </pc:picChg>
        </pc:sldLayoutChg>
        <pc:sldLayoutChg chg="addSp delSp modSp mod">
          <pc:chgData name="Óscar Palomo Díaz" userId="d3c55112-9a8d-4689-970a-c1931af4e0c7" providerId="ADAL" clId="{1FC5B9FA-E64D-4F4E-8F09-84A02C85ABA6}" dt="2025-10-07T15:41:45.764" v="374"/>
          <pc:sldLayoutMkLst>
            <pc:docMk/>
            <pc:sldMasterMk cId="3026860636" sldId="2147483710"/>
            <pc:sldLayoutMk cId="976229015" sldId="2147483727"/>
          </pc:sldLayoutMkLst>
          <pc:picChg chg="add mod">
            <ac:chgData name="Óscar Palomo Díaz" userId="d3c55112-9a8d-4689-970a-c1931af4e0c7" providerId="ADAL" clId="{1FC5B9FA-E64D-4F4E-8F09-84A02C85ABA6}" dt="2025-10-07T15:41:45.764" v="374"/>
            <ac:picMkLst>
              <pc:docMk/>
              <pc:sldMasterMk cId="3026860636" sldId="2147483710"/>
              <pc:sldLayoutMk cId="976229015" sldId="2147483727"/>
              <ac:picMk id="2" creationId="{79D990DC-9BEF-8CA0-75D1-755E907E0E04}"/>
            </ac:picMkLst>
          </pc:picChg>
          <pc:picChg chg="add mod">
            <ac:chgData name="Óscar Palomo Díaz" userId="d3c55112-9a8d-4689-970a-c1931af4e0c7" providerId="ADAL" clId="{1FC5B9FA-E64D-4F4E-8F09-84A02C85ABA6}" dt="2025-10-07T15:41:45.764" v="374"/>
            <ac:picMkLst>
              <pc:docMk/>
              <pc:sldMasterMk cId="3026860636" sldId="2147483710"/>
              <pc:sldLayoutMk cId="976229015" sldId="2147483727"/>
              <ac:picMk id="4" creationId="{E43C0816-0AA7-5E07-202A-FEC618795C51}"/>
            </ac:picMkLst>
          </pc:picChg>
          <pc:picChg chg="del">
            <ac:chgData name="Óscar Palomo Díaz" userId="d3c55112-9a8d-4689-970a-c1931af4e0c7" providerId="ADAL" clId="{1FC5B9FA-E64D-4F4E-8F09-84A02C85ABA6}" dt="2025-10-07T15:40:33.392" v="331" actId="478"/>
            <ac:picMkLst>
              <pc:docMk/>
              <pc:sldMasterMk cId="3026860636" sldId="2147483710"/>
              <pc:sldLayoutMk cId="976229015" sldId="2147483727"/>
              <ac:picMk id="5" creationId="{754D2C11-DDD0-76F4-BB29-11F2F963250B}"/>
            </ac:picMkLst>
          </pc:picChg>
          <pc:picChg chg="add mod">
            <ac:chgData name="Óscar Palomo Díaz" userId="d3c55112-9a8d-4689-970a-c1931af4e0c7" providerId="ADAL" clId="{1FC5B9FA-E64D-4F4E-8F09-84A02C85ABA6}" dt="2025-10-07T15:41:45.764" v="374"/>
            <ac:picMkLst>
              <pc:docMk/>
              <pc:sldMasterMk cId="3026860636" sldId="2147483710"/>
              <pc:sldLayoutMk cId="976229015" sldId="2147483727"/>
              <ac:picMk id="6" creationId="{5F25FBD3-5037-26B1-2B84-EB12ED2279FF}"/>
            </ac:picMkLst>
          </pc:picChg>
        </pc:sldLayoutChg>
        <pc:sldLayoutChg chg="addSp modSp">
          <pc:chgData name="Óscar Palomo Díaz" userId="d3c55112-9a8d-4689-970a-c1931af4e0c7" providerId="ADAL" clId="{1FC5B9FA-E64D-4F4E-8F09-84A02C85ABA6}" dt="2025-10-07T15:41:47.069" v="375"/>
          <pc:sldLayoutMkLst>
            <pc:docMk/>
            <pc:sldMasterMk cId="3026860636" sldId="2147483710"/>
            <pc:sldLayoutMk cId="2462607500" sldId="2147483728"/>
          </pc:sldLayoutMkLst>
          <pc:picChg chg="add mod">
            <ac:chgData name="Óscar Palomo Díaz" userId="d3c55112-9a8d-4689-970a-c1931af4e0c7" providerId="ADAL" clId="{1FC5B9FA-E64D-4F4E-8F09-84A02C85ABA6}" dt="2025-10-07T15:41:47.069" v="375"/>
            <ac:picMkLst>
              <pc:docMk/>
              <pc:sldMasterMk cId="3026860636" sldId="2147483710"/>
              <pc:sldLayoutMk cId="2462607500" sldId="2147483728"/>
              <ac:picMk id="2" creationId="{169F6C81-66CB-125D-F503-5715D8B9A5DD}"/>
            </ac:picMkLst>
          </pc:picChg>
          <pc:picChg chg="add mod">
            <ac:chgData name="Óscar Palomo Díaz" userId="d3c55112-9a8d-4689-970a-c1931af4e0c7" providerId="ADAL" clId="{1FC5B9FA-E64D-4F4E-8F09-84A02C85ABA6}" dt="2025-10-07T15:41:47.069" v="375"/>
            <ac:picMkLst>
              <pc:docMk/>
              <pc:sldMasterMk cId="3026860636" sldId="2147483710"/>
              <pc:sldLayoutMk cId="2462607500" sldId="2147483728"/>
              <ac:picMk id="4" creationId="{CDADCE11-F1C4-05FD-077E-980F0D3EDB45}"/>
            </ac:picMkLst>
          </pc:picChg>
          <pc:picChg chg="add mod">
            <ac:chgData name="Óscar Palomo Díaz" userId="d3c55112-9a8d-4689-970a-c1931af4e0c7" providerId="ADAL" clId="{1FC5B9FA-E64D-4F4E-8F09-84A02C85ABA6}" dt="2025-10-07T15:41:47.069" v="375"/>
            <ac:picMkLst>
              <pc:docMk/>
              <pc:sldMasterMk cId="3026860636" sldId="2147483710"/>
              <pc:sldLayoutMk cId="2462607500" sldId="2147483728"/>
              <ac:picMk id="5" creationId="{D53D6E49-7826-A4EF-97EC-3A25FAB2B51F}"/>
            </ac:picMkLst>
          </pc:picChg>
        </pc:sldLayoutChg>
        <pc:sldLayoutChg chg="addSp delSp modSp mod">
          <pc:chgData name="Óscar Palomo Díaz" userId="d3c55112-9a8d-4689-970a-c1931af4e0c7" providerId="ADAL" clId="{1FC5B9FA-E64D-4F4E-8F09-84A02C85ABA6}" dt="2025-10-07T15:48:50.349" v="529"/>
          <pc:sldLayoutMkLst>
            <pc:docMk/>
            <pc:sldMasterMk cId="3026860636" sldId="2147483710"/>
            <pc:sldLayoutMk cId="2993778867" sldId="2147483734"/>
          </pc:sldLayoutMkLst>
          <pc:picChg chg="add del mod">
            <ac:chgData name="Óscar Palomo Díaz" userId="d3c55112-9a8d-4689-970a-c1931af4e0c7" providerId="ADAL" clId="{1FC5B9FA-E64D-4F4E-8F09-84A02C85ABA6}" dt="2025-10-07T15:48:50.031" v="528" actId="478"/>
            <ac:picMkLst>
              <pc:docMk/>
              <pc:sldMasterMk cId="3026860636" sldId="2147483710"/>
              <pc:sldLayoutMk cId="2993778867" sldId="2147483734"/>
              <ac:picMk id="11" creationId="{3C80BF6B-CC9C-4045-A450-B9CB0F4861E3}"/>
            </ac:picMkLst>
          </pc:picChg>
          <pc:picChg chg="add del mod">
            <ac:chgData name="Óscar Palomo Díaz" userId="d3c55112-9a8d-4689-970a-c1931af4e0c7" providerId="ADAL" clId="{1FC5B9FA-E64D-4F4E-8F09-84A02C85ABA6}" dt="2025-10-07T15:48:50.031" v="528" actId="478"/>
            <ac:picMkLst>
              <pc:docMk/>
              <pc:sldMasterMk cId="3026860636" sldId="2147483710"/>
              <pc:sldLayoutMk cId="2993778867" sldId="2147483734"/>
              <ac:picMk id="12" creationId="{609243EC-4141-011A-02F8-F7410D752B88}"/>
            </ac:picMkLst>
          </pc:picChg>
          <pc:picChg chg="del">
            <ac:chgData name="Óscar Palomo Díaz" userId="d3c55112-9a8d-4689-970a-c1931af4e0c7" providerId="ADAL" clId="{1FC5B9FA-E64D-4F4E-8F09-84A02C85ABA6}" dt="2025-10-07T15:40:39.341" v="334" actId="478"/>
            <ac:picMkLst>
              <pc:docMk/>
              <pc:sldMasterMk cId="3026860636" sldId="2147483710"/>
              <pc:sldLayoutMk cId="2993778867" sldId="2147483734"/>
              <ac:picMk id="13" creationId="{50ACCF2F-42D9-425B-6AFD-45742B90A6C4}"/>
            </ac:picMkLst>
          </pc:picChg>
          <pc:picChg chg="add del mod">
            <ac:chgData name="Óscar Palomo Díaz" userId="d3c55112-9a8d-4689-970a-c1931af4e0c7" providerId="ADAL" clId="{1FC5B9FA-E64D-4F4E-8F09-84A02C85ABA6}" dt="2025-10-07T15:48:50.031" v="528" actId="478"/>
            <ac:picMkLst>
              <pc:docMk/>
              <pc:sldMasterMk cId="3026860636" sldId="2147483710"/>
              <pc:sldLayoutMk cId="2993778867" sldId="2147483734"/>
              <ac:picMk id="14" creationId="{CEF3314C-A5F3-1A66-4528-821832DBA3B3}"/>
            </ac:picMkLst>
          </pc:picChg>
          <pc:picChg chg="add mod">
            <ac:chgData name="Óscar Palomo Díaz" userId="d3c55112-9a8d-4689-970a-c1931af4e0c7" providerId="ADAL" clId="{1FC5B9FA-E64D-4F4E-8F09-84A02C85ABA6}" dt="2025-10-07T15:48:50.349" v="529"/>
            <ac:picMkLst>
              <pc:docMk/>
              <pc:sldMasterMk cId="3026860636" sldId="2147483710"/>
              <pc:sldLayoutMk cId="2993778867" sldId="2147483734"/>
              <ac:picMk id="17" creationId="{0B52855F-11B6-E623-4975-5A17CF29661A}"/>
            </ac:picMkLst>
          </pc:picChg>
          <pc:picChg chg="add mod">
            <ac:chgData name="Óscar Palomo Díaz" userId="d3c55112-9a8d-4689-970a-c1931af4e0c7" providerId="ADAL" clId="{1FC5B9FA-E64D-4F4E-8F09-84A02C85ABA6}" dt="2025-10-07T15:48:50.349" v="529"/>
            <ac:picMkLst>
              <pc:docMk/>
              <pc:sldMasterMk cId="3026860636" sldId="2147483710"/>
              <pc:sldLayoutMk cId="2993778867" sldId="2147483734"/>
              <ac:picMk id="18" creationId="{F4C66C64-E182-672E-3135-EA688A6BE2FC}"/>
            </ac:picMkLst>
          </pc:picChg>
          <pc:picChg chg="add mod">
            <ac:chgData name="Óscar Palomo Díaz" userId="d3c55112-9a8d-4689-970a-c1931af4e0c7" providerId="ADAL" clId="{1FC5B9FA-E64D-4F4E-8F09-84A02C85ABA6}" dt="2025-10-07T15:48:50.349" v="529"/>
            <ac:picMkLst>
              <pc:docMk/>
              <pc:sldMasterMk cId="3026860636" sldId="2147483710"/>
              <pc:sldLayoutMk cId="2993778867" sldId="2147483734"/>
              <ac:picMk id="19" creationId="{5ECCE340-A25F-78B3-A7C0-B76CFE78B9D8}"/>
            </ac:picMkLst>
          </pc:picChg>
        </pc:sldLayoutChg>
        <pc:sldLayoutChg chg="addSp delSp modSp mod">
          <pc:chgData name="Óscar Palomo Díaz" userId="d3c55112-9a8d-4689-970a-c1931af4e0c7" providerId="ADAL" clId="{1FC5B9FA-E64D-4F4E-8F09-84A02C85ABA6}" dt="2025-10-07T15:41:43.830" v="373"/>
          <pc:sldLayoutMkLst>
            <pc:docMk/>
            <pc:sldMasterMk cId="3026860636" sldId="2147483710"/>
            <pc:sldLayoutMk cId="1392551956" sldId="2147483735"/>
          </pc:sldLayoutMkLst>
          <pc:picChg chg="add mod">
            <ac:chgData name="Óscar Palomo Díaz" userId="d3c55112-9a8d-4689-970a-c1931af4e0c7" providerId="ADAL" clId="{1FC5B9FA-E64D-4F4E-8F09-84A02C85ABA6}" dt="2025-10-07T15:41:43.830" v="373"/>
            <ac:picMkLst>
              <pc:docMk/>
              <pc:sldMasterMk cId="3026860636" sldId="2147483710"/>
              <pc:sldLayoutMk cId="1392551956" sldId="2147483735"/>
              <ac:picMk id="2" creationId="{B4E0859D-D358-F450-E861-707EF092B3C5}"/>
            </ac:picMkLst>
          </pc:picChg>
          <pc:picChg chg="add mod">
            <ac:chgData name="Óscar Palomo Díaz" userId="d3c55112-9a8d-4689-970a-c1931af4e0c7" providerId="ADAL" clId="{1FC5B9FA-E64D-4F4E-8F09-84A02C85ABA6}" dt="2025-10-07T15:41:43.830" v="373"/>
            <ac:picMkLst>
              <pc:docMk/>
              <pc:sldMasterMk cId="3026860636" sldId="2147483710"/>
              <pc:sldLayoutMk cId="1392551956" sldId="2147483735"/>
              <ac:picMk id="4" creationId="{CF167B1E-314D-2ADC-730C-6FF6E03C387B}"/>
            </ac:picMkLst>
          </pc:picChg>
          <pc:picChg chg="del">
            <ac:chgData name="Óscar Palomo Díaz" userId="d3c55112-9a8d-4689-970a-c1931af4e0c7" providerId="ADAL" clId="{1FC5B9FA-E64D-4F4E-8F09-84A02C85ABA6}" dt="2025-10-07T15:40:31.845" v="330" actId="478"/>
            <ac:picMkLst>
              <pc:docMk/>
              <pc:sldMasterMk cId="3026860636" sldId="2147483710"/>
              <pc:sldLayoutMk cId="1392551956" sldId="2147483735"/>
              <ac:picMk id="5" creationId="{754D2C11-DDD0-76F4-BB29-11F2F963250B}"/>
            </ac:picMkLst>
          </pc:picChg>
          <pc:picChg chg="add mod">
            <ac:chgData name="Óscar Palomo Díaz" userId="d3c55112-9a8d-4689-970a-c1931af4e0c7" providerId="ADAL" clId="{1FC5B9FA-E64D-4F4E-8F09-84A02C85ABA6}" dt="2025-10-07T15:41:43.830" v="373"/>
            <ac:picMkLst>
              <pc:docMk/>
              <pc:sldMasterMk cId="3026860636" sldId="2147483710"/>
              <pc:sldLayoutMk cId="1392551956" sldId="2147483735"/>
              <ac:picMk id="6" creationId="{7304A486-48AB-22C8-A631-2A204E74B0B2}"/>
            </ac:picMkLst>
          </pc:picChg>
        </pc:sldLayoutChg>
      </pc:sldMasterChg>
    </pc:docChg>
  </pc:docChgLst>
  <pc:docChgLst>
    <pc:chgData name="Javier Utrero Bermejo" userId="883b4058-559a-45fb-b95e-bd41491fbc8a" providerId="ADAL" clId="{8B9F245C-E1AA-448D-AD35-0C094AEDCEA0}"/>
    <pc:docChg chg="modSld">
      <pc:chgData name="Javier Utrero Bermejo" userId="883b4058-559a-45fb-b95e-bd41491fbc8a" providerId="ADAL" clId="{8B9F245C-E1AA-448D-AD35-0C094AEDCEA0}" dt="2025-10-08T06:34:31.573" v="80" actId="20577"/>
      <pc:docMkLst>
        <pc:docMk/>
      </pc:docMkLst>
      <pc:sldChg chg="modSp mod">
        <pc:chgData name="Javier Utrero Bermejo" userId="883b4058-559a-45fb-b95e-bd41491fbc8a" providerId="ADAL" clId="{8B9F245C-E1AA-448D-AD35-0C094AEDCEA0}" dt="2025-10-08T06:34:31.573" v="80" actId="20577"/>
        <pc:sldMkLst>
          <pc:docMk/>
          <pc:sldMk cId="3520971477" sldId="4360"/>
        </pc:sldMkLst>
        <pc:spChg chg="mod">
          <ac:chgData name="Javier Utrero Bermejo" userId="883b4058-559a-45fb-b95e-bd41491fbc8a" providerId="ADAL" clId="{8B9F245C-E1AA-448D-AD35-0C094AEDCEA0}" dt="2025-10-08T06:33:56.527" v="51" actId="20577"/>
          <ac:spMkLst>
            <pc:docMk/>
            <pc:sldMk cId="3520971477" sldId="4360"/>
            <ac:spMk id="18" creationId="{90DFF8E7-5C4E-9744-C408-BFE1BD7CE44F}"/>
          </ac:spMkLst>
        </pc:spChg>
        <pc:spChg chg="mod">
          <ac:chgData name="Javier Utrero Bermejo" userId="883b4058-559a-45fb-b95e-bd41491fbc8a" providerId="ADAL" clId="{8B9F245C-E1AA-448D-AD35-0C094AEDCEA0}" dt="2025-10-08T06:34:31.573" v="80" actId="20577"/>
          <ac:spMkLst>
            <pc:docMk/>
            <pc:sldMk cId="3520971477" sldId="4360"/>
            <ac:spMk id="24" creationId="{D44A3F98-51A3-FB98-D42F-9C957087E484}"/>
          </ac:spMkLst>
        </pc:spChg>
      </pc:sldChg>
    </pc:docChg>
  </pc:docChgLst>
  <pc:docChgLst>
    <pc:chgData name="Óscar Palomo Díaz" userId="S::oscar.palomo@mju.es::d3c55112-9a8d-4689-970a-c1931af4e0c7" providerId="AD" clId="Web-{C6A549E7-7A53-D45D-9C83-43C38FDEE201}"/>
    <pc:docChg chg="modSld">
      <pc:chgData name="Óscar Palomo Díaz" userId="S::oscar.palomo@mju.es::d3c55112-9a8d-4689-970a-c1931af4e0c7" providerId="AD" clId="Web-{C6A549E7-7A53-D45D-9C83-43C38FDEE201}" dt="2025-10-08T06:58:06.575" v="11" actId="1076"/>
      <pc:docMkLst>
        <pc:docMk/>
      </pc:docMkLst>
      <pc:sldChg chg="modSp">
        <pc:chgData name="Óscar Palomo Díaz" userId="S::oscar.palomo@mju.es::d3c55112-9a8d-4689-970a-c1931af4e0c7" providerId="AD" clId="Web-{C6A549E7-7A53-D45D-9C83-43C38FDEE201}" dt="2025-10-08T06:58:06.575" v="11" actId="1076"/>
        <pc:sldMkLst>
          <pc:docMk/>
          <pc:sldMk cId="3520971477" sldId="4360"/>
        </pc:sldMkLst>
        <pc:spChg chg="mod">
          <ac:chgData name="Óscar Palomo Díaz" userId="S::oscar.palomo@mju.es::d3c55112-9a8d-4689-970a-c1931af4e0c7" providerId="AD" clId="Web-{C6A549E7-7A53-D45D-9C83-43C38FDEE201}" dt="2025-10-08T06:58:02.903" v="10" actId="1076"/>
          <ac:spMkLst>
            <pc:docMk/>
            <pc:sldMk cId="3520971477" sldId="4360"/>
            <ac:spMk id="13" creationId="{086E2742-5E20-9B59-B278-0EB2B5FBAAF0}"/>
          </ac:spMkLst>
        </pc:spChg>
        <pc:spChg chg="mod">
          <ac:chgData name="Óscar Palomo Díaz" userId="S::oscar.palomo@mju.es::d3c55112-9a8d-4689-970a-c1931af4e0c7" providerId="AD" clId="Web-{C6A549E7-7A53-D45D-9C83-43C38FDEE201}" dt="2025-10-08T06:57:56.794" v="8" actId="1076"/>
          <ac:spMkLst>
            <pc:docMk/>
            <pc:sldMk cId="3520971477" sldId="4360"/>
            <ac:spMk id="16" creationId="{477731B5-866D-339F-3C18-9D76F0042BDC}"/>
          </ac:spMkLst>
        </pc:spChg>
        <pc:spChg chg="mod">
          <ac:chgData name="Óscar Palomo Díaz" userId="S::oscar.palomo@mju.es::d3c55112-9a8d-4689-970a-c1931af4e0c7" providerId="AD" clId="Web-{C6A549E7-7A53-D45D-9C83-43C38FDEE201}" dt="2025-10-08T06:58:06.575" v="11" actId="1076"/>
          <ac:spMkLst>
            <pc:docMk/>
            <pc:sldMk cId="3520971477" sldId="4360"/>
            <ac:spMk id="17" creationId="{3F4A0374-200E-4EC2-1F50-809768368F94}"/>
          </ac:spMkLst>
        </pc:spChg>
        <pc:spChg chg="mod">
          <ac:chgData name="Óscar Palomo Díaz" userId="S::oscar.palomo@mju.es::d3c55112-9a8d-4689-970a-c1931af4e0c7" providerId="AD" clId="Web-{C6A549E7-7A53-D45D-9C83-43C38FDEE201}" dt="2025-10-08T06:57:25.589" v="1"/>
          <ac:spMkLst>
            <pc:docMk/>
            <pc:sldMk cId="3520971477" sldId="4360"/>
            <ac:spMk id="18" creationId="{90DFF8E7-5C4E-9744-C408-BFE1BD7CE44F}"/>
          </ac:spMkLst>
        </pc:spChg>
        <pc:spChg chg="mod">
          <ac:chgData name="Óscar Palomo Díaz" userId="S::oscar.palomo@mju.es::d3c55112-9a8d-4689-970a-c1931af4e0c7" providerId="AD" clId="Web-{C6A549E7-7A53-D45D-9C83-43C38FDEE201}" dt="2025-10-08T06:57:18.667" v="0"/>
          <ac:spMkLst>
            <pc:docMk/>
            <pc:sldMk cId="3520971477" sldId="4360"/>
            <ac:spMk id="24" creationId="{D44A3F98-51A3-FB98-D42F-9C957087E484}"/>
          </ac:spMkLst>
        </pc:spChg>
      </pc:sldChg>
    </pc:docChg>
  </pc:docChgLst>
  <pc:docChgLst>
    <pc:chgData name="Óscar Palomo Díaz" userId="d3c55112-9a8d-4689-970a-c1931af4e0c7" providerId="ADAL" clId="{0A7FB55A-6374-4A43-8322-69754AC5D7DC}"/>
    <pc:docChg chg="undo custSel modSld">
      <pc:chgData name="Óscar Palomo Díaz" userId="d3c55112-9a8d-4689-970a-c1931af4e0c7" providerId="ADAL" clId="{0A7FB55A-6374-4A43-8322-69754AC5D7DC}" dt="2025-10-08T07:19:09.909" v="194"/>
      <pc:docMkLst>
        <pc:docMk/>
      </pc:docMkLst>
      <pc:sldChg chg="addSp modSp mod">
        <pc:chgData name="Óscar Palomo Díaz" userId="d3c55112-9a8d-4689-970a-c1931af4e0c7" providerId="ADAL" clId="{0A7FB55A-6374-4A43-8322-69754AC5D7DC}" dt="2025-10-08T07:13:53.068" v="159" actId="113"/>
        <pc:sldMkLst>
          <pc:docMk/>
          <pc:sldMk cId="429482159" sldId="2004"/>
        </pc:sldMkLst>
        <pc:spChg chg="add mod">
          <ac:chgData name="Óscar Palomo Díaz" userId="d3c55112-9a8d-4689-970a-c1931af4e0c7" providerId="ADAL" clId="{0A7FB55A-6374-4A43-8322-69754AC5D7DC}" dt="2025-10-08T07:13:53.068" v="159" actId="113"/>
          <ac:spMkLst>
            <pc:docMk/>
            <pc:sldMk cId="429482159" sldId="2004"/>
            <ac:spMk id="3" creationId="{694FE1EC-18E3-3AB3-C5C2-B94141B77B6A}"/>
          </ac:spMkLst>
        </pc:spChg>
        <pc:spChg chg="mod">
          <ac:chgData name="Óscar Palomo Díaz" userId="d3c55112-9a8d-4689-970a-c1931af4e0c7" providerId="ADAL" clId="{0A7FB55A-6374-4A43-8322-69754AC5D7DC}" dt="2025-10-08T07:11:17.828" v="107" actId="20577"/>
          <ac:spMkLst>
            <pc:docMk/>
            <pc:sldMk cId="429482159" sldId="2004"/>
            <ac:spMk id="9" creationId="{24CEEDE2-AC52-456E-665A-177A48B3AF3A}"/>
          </ac:spMkLst>
        </pc:spChg>
        <pc:spChg chg="mod">
          <ac:chgData name="Óscar Palomo Díaz" userId="d3c55112-9a8d-4689-970a-c1931af4e0c7" providerId="ADAL" clId="{0A7FB55A-6374-4A43-8322-69754AC5D7DC}" dt="2025-10-08T07:09:09.334" v="66" actId="1037"/>
          <ac:spMkLst>
            <pc:docMk/>
            <pc:sldMk cId="429482159" sldId="2004"/>
            <ac:spMk id="10" creationId="{C36D4FD4-214D-70B1-3B6E-11241C31A2A0}"/>
          </ac:spMkLst>
        </pc:spChg>
        <pc:spChg chg="mod">
          <ac:chgData name="Óscar Palomo Díaz" userId="d3c55112-9a8d-4689-970a-c1931af4e0c7" providerId="ADAL" clId="{0A7FB55A-6374-4A43-8322-69754AC5D7DC}" dt="2025-10-08T07:09:37.846" v="87" actId="1076"/>
          <ac:spMkLst>
            <pc:docMk/>
            <pc:sldMk cId="429482159" sldId="2004"/>
            <ac:spMk id="11" creationId="{9515264F-6B4F-CBE4-F20F-F82821737364}"/>
          </ac:spMkLst>
        </pc:spChg>
        <pc:picChg chg="add mod">
          <ac:chgData name="Óscar Palomo Díaz" userId="d3c55112-9a8d-4689-970a-c1931af4e0c7" providerId="ADAL" clId="{0A7FB55A-6374-4A43-8322-69754AC5D7DC}" dt="2025-10-08T07:13:40.661" v="146" actId="1035"/>
          <ac:picMkLst>
            <pc:docMk/>
            <pc:sldMk cId="429482159" sldId="2004"/>
            <ac:picMk id="1026" creationId="{27C350AF-B4C2-784F-B446-C051BAE12716}"/>
          </ac:picMkLst>
        </pc:picChg>
      </pc:sldChg>
      <pc:sldChg chg="addSp modSp mod modAnim">
        <pc:chgData name="Óscar Palomo Díaz" userId="d3c55112-9a8d-4689-970a-c1931af4e0c7" providerId="ADAL" clId="{0A7FB55A-6374-4A43-8322-69754AC5D7DC}" dt="2025-10-08T07:16:28.398" v="170"/>
        <pc:sldMkLst>
          <pc:docMk/>
          <pc:sldMk cId="146231439" sldId="4359"/>
        </pc:sldMkLst>
        <pc:picChg chg="add mod">
          <ac:chgData name="Óscar Palomo Díaz" userId="d3c55112-9a8d-4689-970a-c1931af4e0c7" providerId="ADAL" clId="{0A7FB55A-6374-4A43-8322-69754AC5D7DC}" dt="2025-10-08T07:14:45.378" v="160" actId="34307"/>
          <ac:picMkLst>
            <pc:docMk/>
            <pc:sldMk cId="146231439" sldId="4359"/>
            <ac:picMk id="4" creationId="{9C3C2498-A1D1-23E0-1413-961308E68B02}"/>
          </ac:picMkLst>
        </pc:picChg>
      </pc:sldChg>
      <pc:sldChg chg="modAnim">
        <pc:chgData name="Óscar Palomo Díaz" userId="d3c55112-9a8d-4689-970a-c1931af4e0c7" providerId="ADAL" clId="{0A7FB55A-6374-4A43-8322-69754AC5D7DC}" dt="2025-10-08T07:16:50.989" v="173"/>
        <pc:sldMkLst>
          <pc:docMk/>
          <pc:sldMk cId="3520971477" sldId="4360"/>
        </pc:sldMkLst>
      </pc:sldChg>
      <pc:sldChg chg="addSp delSp modSp modAnim">
        <pc:chgData name="Óscar Palomo Díaz" userId="d3c55112-9a8d-4689-970a-c1931af4e0c7" providerId="ADAL" clId="{0A7FB55A-6374-4A43-8322-69754AC5D7DC}" dt="2025-10-08T07:18:23.877" v="185"/>
        <pc:sldMkLst>
          <pc:docMk/>
          <pc:sldMk cId="1779854552" sldId="4361"/>
        </pc:sldMkLst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23" creationId="{0DAAABB0-49A3-F6E6-BAAF-18C1265D8B8C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24" creationId="{5950A2FB-4503-A2BA-74F7-30C311EFDC03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27" creationId="{45808479-B338-05DD-D516-F53B790ABAF7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28" creationId="{ED07A6D1-C43C-33CA-B169-A8E6D758347C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29" creationId="{C247FC22-DE02-2A82-94F9-BEEA732F5278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31" creationId="{D196FC38-EAE3-526C-C0F1-79C9E46FB9DA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32" creationId="{23DC1747-A5EC-0EE8-B0AB-D25D59E24A27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33" creationId="{9D8B7E6B-1C68-6074-D81C-1806483D853D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34" creationId="{0AF77556-9FC5-D2AE-72C7-0B2283B62BBF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35" creationId="{A322E4B6-5098-3610-97A8-8F3E4B6D5AD3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36" creationId="{3CE8ED8A-5EDA-8CFA-9102-21CC85B7E506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37" creationId="{FDE46CE1-7B53-89F0-6BE1-DC80FB09D068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38" creationId="{FCC4BCD8-A183-756F-619A-DFB9169DBC84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41" creationId="{B44F0D00-D16C-5FF1-1B31-585CD28924F5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42" creationId="{8563724A-DDA1-350A-3EA8-149F7684C1BB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44" creationId="{8746792E-8A8B-8C4F-4708-86FFC8528901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46" creationId="{4484881E-B913-ED1E-AEB9-B8F9EEFAF0B3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47" creationId="{CFFE5F8A-0878-542F-639E-20ED528EFFF1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48" creationId="{B336A660-5C1E-E34C-19EF-FEE4FC327633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49" creationId="{50D42C6E-16FE-2400-80B9-A422D46D2410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50" creationId="{7C4E3653-3CC6-5984-EE30-2BCDD4B6A7E1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51" creationId="{BB2676D3-BAB9-5C73-3F7B-0DDAD80A2C42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52" creationId="{5EB47230-B0D5-73B1-D024-1F6F2A0AAC33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53" creationId="{AAAF3CC1-E8C7-88A8-FEF0-922DD1F899CE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56" creationId="{12AFD0A9-1F28-36DF-689B-A1C686792C14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57" creationId="{E0EF965D-35BE-0ED6-9945-1AC9D77B4D88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58" creationId="{23D30719-FA8A-42C1-5BAA-10BDB942B3C0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60" creationId="{098513CD-3EFC-4D49-01A6-BCF1FEEE6336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61" creationId="{6B159BC7-392C-CF32-A13F-75CCBB5FCD29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62" creationId="{5AA4854F-4C36-56CF-CBA0-2B31760B888B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63" creationId="{C0FF4BB9-5CE2-E230-86FD-85C6FF1C6FB9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64" creationId="{0A02A19C-68CF-02AF-8E0D-7F76F6FE828B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65" creationId="{0E5285C8-C899-5CF9-C046-648DE0F10C6C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66" creationId="{F81F3615-71C1-4D28-E945-050D8F74F43F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67" creationId="{D7541B16-1837-A695-A6BA-8BB735FCB60A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68" creationId="{3E4B3A3E-6F10-0D6B-F511-6EB761D06019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69" creationId="{5A002DE5-57DA-12E6-1B06-489B6BEB3FD1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71" creationId="{7F793F2F-F86B-117F-C8EF-15C6C5342F63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72" creationId="{320FBF7B-2D95-120D-4113-66BA15A64284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73" creationId="{07A6E313-314C-7547-F3BC-773B646BF4F3}"/>
          </ac:spMkLst>
        </pc:spChg>
        <pc:spChg chg="mod topLvl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75" creationId="{3DF7EE53-C33A-19B9-4DF6-4484A21F4F57}"/>
          </ac:spMkLst>
        </pc:spChg>
        <pc:spChg chg="mod topLvl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76" creationId="{F183318F-8768-35CF-496E-6FA6F25DD589}"/>
          </ac:spMkLst>
        </pc:spChg>
        <pc:spChg chg="mod topLvl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78" creationId="{03DBAB05-D919-0269-9258-3E9EF4A731CF}"/>
          </ac:spMkLst>
        </pc:spChg>
        <pc:spChg chg="mod topLvl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79" creationId="{373F42C8-DE3C-5898-3067-BF390228427D}"/>
          </ac:spMkLst>
        </pc:spChg>
        <pc:spChg chg="mod topLvl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80" creationId="{7488665B-86BA-130B-D7DD-8B24EB08D0B2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82" creationId="{9771B745-7CE8-AA7A-A14D-3BB14422622A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83" creationId="{EE40E963-1AE3-63FC-9340-B28A09343DA1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84" creationId="{FFF5FD6F-9DC3-F483-E20E-F9F306F0C2C6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85" creationId="{D1E5023D-DD13-5C8C-7F24-67D4B8C6D705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86" creationId="{8A1AD466-0554-A2F3-CADF-116248F9A3EA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88" creationId="{EF0CA02E-F2EC-84DA-C8C4-2D24378717BC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89" creationId="{4A841E11-764B-3A42-14C8-ABF498849830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90" creationId="{864EEE8E-9420-F6FD-5157-370547AB0599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91" creationId="{710B5B9F-4385-8230-BC60-510CF1B665B3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92" creationId="{0B1154F6-538D-D74B-E895-715ABD487A0F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93" creationId="{5E3E2A9E-8DC3-DE72-F375-DFEC9F92EDD6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94" creationId="{953F8F31-3FA9-BA1D-C230-DB5488A4A9F7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95" creationId="{A6379E1A-F28F-8C53-4788-CB9A4B4AFF82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96" creationId="{7D79B707-CAC1-987F-19B2-1E9278121D6A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97" creationId="{87005686-55DA-7A3D-B674-FF0F84CE5A6E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98" creationId="{97E62D55-6ABA-8BFA-E872-E6F4F0CD0DE9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99" creationId="{8F5E46A2-2C1A-AD6B-3E3E-2A6B3F881C27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100" creationId="{0C03351E-E152-A9EE-70F3-0771598F98C4}"/>
          </ac:spMkLst>
        </pc:spChg>
        <pc:spChg chg="mod">
          <ac:chgData name="Óscar Palomo Díaz" userId="d3c55112-9a8d-4689-970a-c1931af4e0c7" providerId="ADAL" clId="{0A7FB55A-6374-4A43-8322-69754AC5D7DC}" dt="2025-10-08T07:18:21.929" v="183" actId="165"/>
          <ac:spMkLst>
            <pc:docMk/>
            <pc:sldMk cId="1779854552" sldId="4361"/>
            <ac:spMk id="101" creationId="{40092798-8290-7DF6-E8CA-0BBCBD5B70EE}"/>
          </ac:spMkLst>
        </pc:spChg>
        <pc:grpChg chg="add del mod">
          <ac:chgData name="Óscar Palomo Díaz" userId="d3c55112-9a8d-4689-970a-c1931af4e0c7" providerId="ADAL" clId="{0A7FB55A-6374-4A43-8322-69754AC5D7DC}" dt="2025-10-08T07:18:21.929" v="183" actId="165"/>
          <ac:grpSpMkLst>
            <pc:docMk/>
            <pc:sldMk cId="1779854552" sldId="4361"/>
            <ac:grpSpMk id="13" creationId="{BEFB196C-2C2B-285F-3283-849B66E286EE}"/>
          </ac:grpSpMkLst>
        </pc:grpChg>
        <pc:grpChg chg="add del mod topLvl">
          <ac:chgData name="Óscar Palomo Díaz" userId="d3c55112-9a8d-4689-970a-c1931af4e0c7" providerId="ADAL" clId="{0A7FB55A-6374-4A43-8322-69754AC5D7DC}" dt="2025-10-08T07:18:21.929" v="183" actId="165"/>
          <ac:grpSpMkLst>
            <pc:docMk/>
            <pc:sldMk cId="1779854552" sldId="4361"/>
            <ac:grpSpMk id="14" creationId="{ED74AF6F-84D4-9CF7-8FC8-DF675E118C35}"/>
          </ac:grpSpMkLst>
        </pc:grpChg>
        <pc:grpChg chg="mod topLvl">
          <ac:chgData name="Óscar Palomo Díaz" userId="d3c55112-9a8d-4689-970a-c1931af4e0c7" providerId="ADAL" clId="{0A7FB55A-6374-4A43-8322-69754AC5D7DC}" dt="2025-10-08T07:18:21.929" v="183" actId="165"/>
          <ac:grpSpMkLst>
            <pc:docMk/>
            <pc:sldMk cId="1779854552" sldId="4361"/>
            <ac:grpSpMk id="15" creationId="{439E4680-03A4-E0F2-528D-A84990ACDF4D}"/>
          </ac:grpSpMkLst>
        </pc:grpChg>
        <pc:grpChg chg="mod topLvl">
          <ac:chgData name="Óscar Palomo Díaz" userId="d3c55112-9a8d-4689-970a-c1931af4e0c7" providerId="ADAL" clId="{0A7FB55A-6374-4A43-8322-69754AC5D7DC}" dt="2025-10-08T07:18:21.929" v="183" actId="165"/>
          <ac:grpSpMkLst>
            <pc:docMk/>
            <pc:sldMk cId="1779854552" sldId="4361"/>
            <ac:grpSpMk id="16" creationId="{C6945B82-3AAD-C2A3-78B6-A62D94E601AB}"/>
          </ac:grpSpMkLst>
        </pc:grpChg>
        <pc:grpChg chg="mod">
          <ac:chgData name="Óscar Palomo Díaz" userId="d3c55112-9a8d-4689-970a-c1931af4e0c7" providerId="ADAL" clId="{0A7FB55A-6374-4A43-8322-69754AC5D7DC}" dt="2025-10-08T07:18:21.929" v="183" actId="165"/>
          <ac:grpSpMkLst>
            <pc:docMk/>
            <pc:sldMk cId="1779854552" sldId="4361"/>
            <ac:grpSpMk id="20" creationId="{1A7359D0-9728-E899-E3C7-E1216B485FCD}"/>
          </ac:grpSpMkLst>
        </pc:grpChg>
        <pc:grpChg chg="mod">
          <ac:chgData name="Óscar Palomo Díaz" userId="d3c55112-9a8d-4689-970a-c1931af4e0c7" providerId="ADAL" clId="{0A7FB55A-6374-4A43-8322-69754AC5D7DC}" dt="2025-10-08T07:18:21.929" v="183" actId="165"/>
          <ac:grpSpMkLst>
            <pc:docMk/>
            <pc:sldMk cId="1779854552" sldId="4361"/>
            <ac:grpSpMk id="21" creationId="{77A642ED-0D42-3732-A758-BD44755164ED}"/>
          </ac:grpSpMkLst>
        </pc:grpChg>
        <pc:grpChg chg="mod">
          <ac:chgData name="Óscar Palomo Díaz" userId="d3c55112-9a8d-4689-970a-c1931af4e0c7" providerId="ADAL" clId="{0A7FB55A-6374-4A43-8322-69754AC5D7DC}" dt="2025-10-08T07:18:21.929" v="183" actId="165"/>
          <ac:grpSpMkLst>
            <pc:docMk/>
            <pc:sldMk cId="1779854552" sldId="4361"/>
            <ac:grpSpMk id="22" creationId="{4B15A312-2DFB-0449-763B-44729D632E83}"/>
          </ac:grpSpMkLst>
        </pc:grpChg>
        <pc:grpChg chg="mod">
          <ac:chgData name="Óscar Palomo Díaz" userId="d3c55112-9a8d-4689-970a-c1931af4e0c7" providerId="ADAL" clId="{0A7FB55A-6374-4A43-8322-69754AC5D7DC}" dt="2025-10-08T07:18:21.929" v="183" actId="165"/>
          <ac:grpSpMkLst>
            <pc:docMk/>
            <pc:sldMk cId="1779854552" sldId="4361"/>
            <ac:grpSpMk id="25" creationId="{CD6677D0-0F82-87EF-795E-207BE79B21CD}"/>
          </ac:grpSpMkLst>
        </pc:grpChg>
        <pc:grpChg chg="mod">
          <ac:chgData name="Óscar Palomo Díaz" userId="d3c55112-9a8d-4689-970a-c1931af4e0c7" providerId="ADAL" clId="{0A7FB55A-6374-4A43-8322-69754AC5D7DC}" dt="2025-10-08T07:18:21.929" v="183" actId="165"/>
          <ac:grpSpMkLst>
            <pc:docMk/>
            <pc:sldMk cId="1779854552" sldId="4361"/>
            <ac:grpSpMk id="26" creationId="{D530E5B2-3191-E583-20F6-263845F02309}"/>
          </ac:grpSpMkLst>
        </pc:grpChg>
        <pc:grpChg chg="mod">
          <ac:chgData name="Óscar Palomo Díaz" userId="d3c55112-9a8d-4689-970a-c1931af4e0c7" providerId="ADAL" clId="{0A7FB55A-6374-4A43-8322-69754AC5D7DC}" dt="2025-10-08T07:18:21.929" v="183" actId="165"/>
          <ac:grpSpMkLst>
            <pc:docMk/>
            <pc:sldMk cId="1779854552" sldId="4361"/>
            <ac:grpSpMk id="30" creationId="{749938ED-92AA-FC41-A461-8CB38B3B1BD7}"/>
          </ac:grpSpMkLst>
        </pc:grpChg>
        <pc:grpChg chg="mod">
          <ac:chgData name="Óscar Palomo Díaz" userId="d3c55112-9a8d-4689-970a-c1931af4e0c7" providerId="ADAL" clId="{0A7FB55A-6374-4A43-8322-69754AC5D7DC}" dt="2025-10-08T07:18:21.929" v="183" actId="165"/>
          <ac:grpSpMkLst>
            <pc:docMk/>
            <pc:sldMk cId="1779854552" sldId="4361"/>
            <ac:grpSpMk id="39" creationId="{F71A8890-CAA7-E442-5DE0-314AC7D06F95}"/>
          </ac:grpSpMkLst>
        </pc:grpChg>
        <pc:grpChg chg="mod">
          <ac:chgData name="Óscar Palomo Díaz" userId="d3c55112-9a8d-4689-970a-c1931af4e0c7" providerId="ADAL" clId="{0A7FB55A-6374-4A43-8322-69754AC5D7DC}" dt="2025-10-08T07:18:21.929" v="183" actId="165"/>
          <ac:grpSpMkLst>
            <pc:docMk/>
            <pc:sldMk cId="1779854552" sldId="4361"/>
            <ac:grpSpMk id="40" creationId="{58FC7BC5-C7DF-81E4-D38C-437687A22D77}"/>
          </ac:grpSpMkLst>
        </pc:grpChg>
        <pc:grpChg chg="mod">
          <ac:chgData name="Óscar Palomo Díaz" userId="d3c55112-9a8d-4689-970a-c1931af4e0c7" providerId="ADAL" clId="{0A7FB55A-6374-4A43-8322-69754AC5D7DC}" dt="2025-10-08T07:18:21.929" v="183" actId="165"/>
          <ac:grpSpMkLst>
            <pc:docMk/>
            <pc:sldMk cId="1779854552" sldId="4361"/>
            <ac:grpSpMk id="45" creationId="{B415D22A-CE40-C172-1810-C6200B9A2EBD}"/>
          </ac:grpSpMkLst>
        </pc:grpChg>
        <pc:grpChg chg="mod">
          <ac:chgData name="Óscar Palomo Díaz" userId="d3c55112-9a8d-4689-970a-c1931af4e0c7" providerId="ADAL" clId="{0A7FB55A-6374-4A43-8322-69754AC5D7DC}" dt="2025-10-08T07:18:21.929" v="183" actId="165"/>
          <ac:grpSpMkLst>
            <pc:docMk/>
            <pc:sldMk cId="1779854552" sldId="4361"/>
            <ac:grpSpMk id="54" creationId="{13385C7E-3479-DCCF-577D-A9940F38C726}"/>
          </ac:grpSpMkLst>
        </pc:grpChg>
        <pc:grpChg chg="mod">
          <ac:chgData name="Óscar Palomo Díaz" userId="d3c55112-9a8d-4689-970a-c1931af4e0c7" providerId="ADAL" clId="{0A7FB55A-6374-4A43-8322-69754AC5D7DC}" dt="2025-10-08T07:18:21.929" v="183" actId="165"/>
          <ac:grpSpMkLst>
            <pc:docMk/>
            <pc:sldMk cId="1779854552" sldId="4361"/>
            <ac:grpSpMk id="55" creationId="{8CA01D41-8E11-1097-F070-8CA929DCBAE0}"/>
          </ac:grpSpMkLst>
        </pc:grpChg>
        <pc:grpChg chg="mod">
          <ac:chgData name="Óscar Palomo Díaz" userId="d3c55112-9a8d-4689-970a-c1931af4e0c7" providerId="ADAL" clId="{0A7FB55A-6374-4A43-8322-69754AC5D7DC}" dt="2025-10-08T07:18:21.929" v="183" actId="165"/>
          <ac:grpSpMkLst>
            <pc:docMk/>
            <pc:sldMk cId="1779854552" sldId="4361"/>
            <ac:grpSpMk id="59" creationId="{0BF192C6-A636-E3FF-9E59-9194F7D18F82}"/>
          </ac:grpSpMkLst>
        </pc:grpChg>
        <pc:grpChg chg="mod">
          <ac:chgData name="Óscar Palomo Díaz" userId="d3c55112-9a8d-4689-970a-c1931af4e0c7" providerId="ADAL" clId="{0A7FB55A-6374-4A43-8322-69754AC5D7DC}" dt="2025-10-08T07:18:21.929" v="183" actId="165"/>
          <ac:grpSpMkLst>
            <pc:docMk/>
            <pc:sldMk cId="1779854552" sldId="4361"/>
            <ac:grpSpMk id="70" creationId="{99C2BCA2-92D8-12E6-69BB-E26239ADB40C}"/>
          </ac:grpSpMkLst>
        </pc:grpChg>
        <pc:grpChg chg="mod topLvl">
          <ac:chgData name="Óscar Palomo Díaz" userId="d3c55112-9a8d-4689-970a-c1931af4e0c7" providerId="ADAL" clId="{0A7FB55A-6374-4A43-8322-69754AC5D7DC}" dt="2025-10-08T07:18:21.929" v="183" actId="165"/>
          <ac:grpSpMkLst>
            <pc:docMk/>
            <pc:sldMk cId="1779854552" sldId="4361"/>
            <ac:grpSpMk id="74" creationId="{5A492F19-B3CC-DBDE-BDB1-D6662B4BBA28}"/>
          </ac:grpSpMkLst>
        </pc:grpChg>
        <pc:grpChg chg="mod">
          <ac:chgData name="Óscar Palomo Díaz" userId="d3c55112-9a8d-4689-970a-c1931af4e0c7" providerId="ADAL" clId="{0A7FB55A-6374-4A43-8322-69754AC5D7DC}" dt="2025-10-08T07:18:21.929" v="183" actId="165"/>
          <ac:grpSpMkLst>
            <pc:docMk/>
            <pc:sldMk cId="1779854552" sldId="4361"/>
            <ac:grpSpMk id="81" creationId="{A58362EF-6FD3-09A4-C0D0-5B86F6087BEF}"/>
          </ac:grpSpMkLst>
        </pc:grpChg>
        <pc:grpChg chg="mod">
          <ac:chgData name="Óscar Palomo Díaz" userId="d3c55112-9a8d-4689-970a-c1931af4e0c7" providerId="ADAL" clId="{0A7FB55A-6374-4A43-8322-69754AC5D7DC}" dt="2025-10-08T07:18:21.929" v="183" actId="165"/>
          <ac:grpSpMkLst>
            <pc:docMk/>
            <pc:sldMk cId="1779854552" sldId="4361"/>
            <ac:grpSpMk id="87" creationId="{02EEA669-E634-2B1B-85FF-F43CB0D7A1A3}"/>
          </ac:grpSpMkLst>
        </pc:grpChg>
        <pc:picChg chg="mod topLvl">
          <ac:chgData name="Óscar Palomo Díaz" userId="d3c55112-9a8d-4689-970a-c1931af4e0c7" providerId="ADAL" clId="{0A7FB55A-6374-4A43-8322-69754AC5D7DC}" dt="2025-10-08T07:18:21.929" v="183" actId="165"/>
          <ac:picMkLst>
            <pc:docMk/>
            <pc:sldMk cId="1779854552" sldId="4361"/>
            <ac:picMk id="17" creationId="{3F6250CA-9BC3-8D43-A3AC-DF289941A091}"/>
          </ac:picMkLst>
        </pc:picChg>
        <pc:picChg chg="mod topLvl">
          <ac:chgData name="Óscar Palomo Díaz" userId="d3c55112-9a8d-4689-970a-c1931af4e0c7" providerId="ADAL" clId="{0A7FB55A-6374-4A43-8322-69754AC5D7DC}" dt="2025-10-08T07:18:21.929" v="183" actId="165"/>
          <ac:picMkLst>
            <pc:docMk/>
            <pc:sldMk cId="1779854552" sldId="4361"/>
            <ac:picMk id="18" creationId="{D781378F-B14B-7863-ED00-64853FBEA240}"/>
          </ac:picMkLst>
        </pc:picChg>
        <pc:picChg chg="mod topLvl">
          <ac:chgData name="Óscar Palomo Díaz" userId="d3c55112-9a8d-4689-970a-c1931af4e0c7" providerId="ADAL" clId="{0A7FB55A-6374-4A43-8322-69754AC5D7DC}" dt="2025-10-08T07:18:21.929" v="183" actId="165"/>
          <ac:picMkLst>
            <pc:docMk/>
            <pc:sldMk cId="1779854552" sldId="4361"/>
            <ac:picMk id="19" creationId="{2810891C-393C-853B-2C19-79454984126D}"/>
          </ac:picMkLst>
        </pc:picChg>
      </pc:sldChg>
      <pc:sldChg chg="modAnim">
        <pc:chgData name="Óscar Palomo Díaz" userId="d3c55112-9a8d-4689-970a-c1931af4e0c7" providerId="ADAL" clId="{0A7FB55A-6374-4A43-8322-69754AC5D7DC}" dt="2025-10-08T07:18:54.323" v="191"/>
        <pc:sldMkLst>
          <pc:docMk/>
          <pc:sldMk cId="2608448529" sldId="4362"/>
        </pc:sldMkLst>
      </pc:sldChg>
      <pc:sldChg chg="modAnim">
        <pc:chgData name="Óscar Palomo Díaz" userId="d3c55112-9a8d-4689-970a-c1931af4e0c7" providerId="ADAL" clId="{0A7FB55A-6374-4A43-8322-69754AC5D7DC}" dt="2025-10-08T07:19:09.909" v="194"/>
        <pc:sldMkLst>
          <pc:docMk/>
          <pc:sldMk cId="4278634767" sldId="4365"/>
        </pc:sldMkLst>
      </pc:sldChg>
    </pc:docChg>
  </pc:docChgLst>
  <pc:docChgLst>
    <pc:chgData name="Óscar Palomo Díaz" userId="S::oscar.palomo@mju.es::d3c55112-9a8d-4689-970a-c1931af4e0c7" providerId="AD" clId="Web-{A8C9D707-AC94-06AC-EF4E-7B6FC601D9A5}"/>
    <pc:docChg chg="modSld">
      <pc:chgData name="Óscar Palomo Díaz" userId="S::oscar.palomo@mju.es::d3c55112-9a8d-4689-970a-c1931af4e0c7" providerId="AD" clId="Web-{A8C9D707-AC94-06AC-EF4E-7B6FC601D9A5}" dt="2025-10-08T06:56:18.777" v="74" actId="20577"/>
      <pc:docMkLst>
        <pc:docMk/>
      </pc:docMkLst>
      <pc:sldChg chg="delSp modSp">
        <pc:chgData name="Óscar Palomo Díaz" userId="S::oscar.palomo@mju.es::d3c55112-9a8d-4689-970a-c1931af4e0c7" providerId="AD" clId="Web-{A8C9D707-AC94-06AC-EF4E-7B6FC601D9A5}" dt="2025-10-08T06:56:18.777" v="74" actId="20577"/>
        <pc:sldMkLst>
          <pc:docMk/>
          <pc:sldMk cId="3520971477" sldId="4360"/>
        </pc:sldMkLst>
        <pc:spChg chg="mod">
          <ac:chgData name="Óscar Palomo Díaz" userId="S::oscar.palomo@mju.es::d3c55112-9a8d-4689-970a-c1931af4e0c7" providerId="AD" clId="Web-{A8C9D707-AC94-06AC-EF4E-7B6FC601D9A5}" dt="2025-10-08T06:54:35.290" v="30" actId="20577"/>
          <ac:spMkLst>
            <pc:docMk/>
            <pc:sldMk cId="3520971477" sldId="4360"/>
            <ac:spMk id="15" creationId="{0AD7C350-33BC-B282-B2F0-A589CDE491A8}"/>
          </ac:spMkLst>
        </pc:spChg>
        <pc:spChg chg="mod">
          <ac:chgData name="Óscar Palomo Díaz" userId="S::oscar.palomo@mju.es::d3c55112-9a8d-4689-970a-c1931af4e0c7" providerId="AD" clId="Web-{A8C9D707-AC94-06AC-EF4E-7B6FC601D9A5}" dt="2025-10-08T06:56:18.777" v="74" actId="20577"/>
          <ac:spMkLst>
            <pc:docMk/>
            <pc:sldMk cId="3520971477" sldId="4360"/>
            <ac:spMk id="18" creationId="{90DFF8E7-5C4E-9744-C408-BFE1BD7CE44F}"/>
          </ac:spMkLst>
        </pc:spChg>
        <pc:spChg chg="mod">
          <ac:chgData name="Óscar Palomo Díaz" userId="S::oscar.palomo@mju.es::d3c55112-9a8d-4689-970a-c1931af4e0c7" providerId="AD" clId="Web-{A8C9D707-AC94-06AC-EF4E-7B6FC601D9A5}" dt="2025-10-08T06:55:56.855" v="68" actId="20577"/>
          <ac:spMkLst>
            <pc:docMk/>
            <pc:sldMk cId="3520971477" sldId="4360"/>
            <ac:spMk id="24" creationId="{D44A3F98-51A3-FB98-D42F-9C957087E484}"/>
          </ac:spMkLst>
        </pc:spChg>
        <pc:spChg chg="del mod">
          <ac:chgData name="Óscar Palomo Díaz" userId="S::oscar.palomo@mju.es::d3c55112-9a8d-4689-970a-c1931af4e0c7" providerId="AD" clId="Web-{A8C9D707-AC94-06AC-EF4E-7B6FC601D9A5}" dt="2025-10-08T06:53:16.507" v="3"/>
          <ac:spMkLst>
            <pc:docMk/>
            <pc:sldMk cId="3520971477" sldId="4360"/>
            <ac:spMk id="25" creationId="{112879B4-E558-B853-9BAE-88AACF149634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98102" y="0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AF7EB5-2971-424E-A29F-EDDE4D18392D}" type="datetimeFigureOut">
              <a:rPr lang="es-ES" smtClean="0"/>
              <a:pPr/>
              <a:t>08/10/2025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6F353E-6852-4E82-86D3-C8985EC6AECD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195923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98765" y="0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D91BC7-D3D6-4F53-88A4-79556D8EED24}" type="datetimeFigureOut">
              <a:rPr lang="en-US" smtClean="0"/>
              <a:pPr/>
              <a:t>10/8/2025</a:t>
            </a:fld>
            <a:endParaRPr lang="en-U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342900" y="696913"/>
            <a:ext cx="6196013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8018" y="4416311"/>
            <a:ext cx="5505778" cy="418293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829648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98765" y="8829648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480A59-04CD-4DD9-ADD2-945F8BAF6CA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6082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42900" y="696913"/>
            <a:ext cx="6196013" cy="348615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454FD-CA04-475D-B3C1-D4B78E0F09C7}" type="slidenum">
              <a:rPr lang="es-ES" smtClean="0"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630141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sz="2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480A59-04CD-4DD9-ADD2-945F8BAF6CA2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530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microsoft.com/office/2007/relationships/hdphoto" Target="../media/hdphoto1.wdp"/><Relationship Id="rId5" Type="http://schemas.openxmlformats.org/officeDocument/2006/relationships/image" Target="../media/image15.pn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image" Target="../media/image9.jpe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6.pn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10" Type="http://schemas.openxmlformats.org/officeDocument/2006/relationships/image" Target="../media/image8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7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340293EA-65D7-41AF-8C73-8085F2DAF0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3630261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340293EA-65D7-41AF-8C73-8085F2DAF0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Imagen 28">
            <a:extLst>
              <a:ext uri="{FF2B5EF4-FFF2-40B4-BE49-F238E27FC236}">
                <a16:creationId xmlns:a16="http://schemas.microsoft.com/office/drawing/2014/main" id="{71AEFC04-7882-46DE-9C4C-BBD2B909C9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r="68770" b="-377"/>
          <a:stretch/>
        </p:blipFill>
        <p:spPr>
          <a:xfrm>
            <a:off x="437811" y="451164"/>
            <a:ext cx="1024963" cy="833041"/>
          </a:xfrm>
          <a:prstGeom prst="rect">
            <a:avLst/>
          </a:prstGeom>
        </p:spPr>
      </p:pic>
      <p:sp>
        <p:nvSpPr>
          <p:cNvPr id="33" name="3 Marcador de texto">
            <a:extLst>
              <a:ext uri="{FF2B5EF4-FFF2-40B4-BE49-F238E27FC236}">
                <a16:creationId xmlns:a16="http://schemas.microsoft.com/office/drawing/2014/main" id="{4BEC0FC8-FA5D-4C89-8354-D52560E34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1462774" y="440723"/>
            <a:ext cx="7209790" cy="17278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algn="just">
              <a:lnSpc>
                <a:spcPct val="115000"/>
              </a:lnSpc>
              <a:spcAft>
                <a:spcPts val="800"/>
              </a:spcAft>
            </a:pPr>
            <a:r>
              <a:rPr lang="es-ES" sz="4000" b="0" kern="12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rategia</a:t>
            </a:r>
            <a:endParaRPr lang="es-ES" sz="900" b="0">
              <a:solidFill>
                <a:schemeClr val="tx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51D2E3B8-D664-F402-9D41-6580B259F3E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5776" y="6187258"/>
            <a:ext cx="3960448" cy="444046"/>
          </a:xfrm>
          <a:prstGeom prst="rect">
            <a:avLst/>
          </a:prstGeom>
        </p:spPr>
      </p:pic>
      <p:pic>
        <p:nvPicPr>
          <p:cNvPr id="2" name="Graphic 10">
            <a:extLst>
              <a:ext uri="{FF2B5EF4-FFF2-40B4-BE49-F238E27FC236}">
                <a16:creationId xmlns:a16="http://schemas.microsoft.com/office/drawing/2014/main" id="{50B41FDF-25EB-AF35-24FB-E29338DE41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52072" t="42879"/>
          <a:stretch/>
        </p:blipFill>
        <p:spPr>
          <a:xfrm>
            <a:off x="-36512" y="-3983"/>
            <a:ext cx="5115990" cy="6097279"/>
          </a:xfrm>
          <a:prstGeom prst="rect">
            <a:avLst/>
          </a:prstGeom>
        </p:spPr>
      </p:pic>
      <p:sp>
        <p:nvSpPr>
          <p:cNvPr id="7" name="Oval 11">
            <a:extLst>
              <a:ext uri="{FF2B5EF4-FFF2-40B4-BE49-F238E27FC236}">
                <a16:creationId xmlns:a16="http://schemas.microsoft.com/office/drawing/2014/main" id="{2C257186-CDC6-405F-14B4-47761CC7186C}"/>
              </a:ext>
            </a:extLst>
          </p:cNvPr>
          <p:cNvSpPr/>
          <p:nvPr userDrawn="1"/>
        </p:nvSpPr>
        <p:spPr>
          <a:xfrm>
            <a:off x="4716016" y="623008"/>
            <a:ext cx="648072" cy="64807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Oval 12">
            <a:extLst>
              <a:ext uri="{FF2B5EF4-FFF2-40B4-BE49-F238E27FC236}">
                <a16:creationId xmlns:a16="http://schemas.microsoft.com/office/drawing/2014/main" id="{BC1FBEBC-21C8-28E5-1121-1F74D30722E7}"/>
              </a:ext>
            </a:extLst>
          </p:cNvPr>
          <p:cNvSpPr/>
          <p:nvPr userDrawn="1"/>
        </p:nvSpPr>
        <p:spPr>
          <a:xfrm>
            <a:off x="1870000" y="4228608"/>
            <a:ext cx="1658971" cy="165897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18 Marcador de texto">
            <a:extLst>
              <a:ext uri="{FF2B5EF4-FFF2-40B4-BE49-F238E27FC236}">
                <a16:creationId xmlns:a16="http://schemas.microsoft.com/office/drawing/2014/main" id="{F1492904-4015-2FC1-6B1E-861EE6ECA0D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4460" y="2991255"/>
            <a:ext cx="4763604" cy="5767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r">
              <a:buNone/>
              <a:defRPr/>
            </a:lvl2pPr>
            <a:lvl3pPr marL="685800" indent="0" algn="r">
              <a:buNone/>
              <a:defRPr/>
            </a:lvl3pPr>
            <a:lvl4pPr marL="1028700" indent="0" algn="r">
              <a:buNone/>
              <a:defRPr/>
            </a:lvl4pPr>
            <a:lvl5pPr marL="1371600" indent="0" algn="r">
              <a:buNone/>
              <a:defRPr/>
            </a:lvl5pPr>
          </a:lstStyle>
          <a:p>
            <a:pPr lvl="0"/>
            <a:r>
              <a:rPr lang="es-ES"/>
              <a:t>Subtítulo de la presentación</a:t>
            </a:r>
          </a:p>
        </p:txBody>
      </p:sp>
      <p:sp>
        <p:nvSpPr>
          <p:cNvPr id="11" name="21 Marcador de texto">
            <a:extLst>
              <a:ext uri="{FF2B5EF4-FFF2-40B4-BE49-F238E27FC236}">
                <a16:creationId xmlns:a16="http://schemas.microsoft.com/office/drawing/2014/main" id="{23C23D42-2BEB-E9EF-5E32-A9B2E90F91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4460" y="3707177"/>
            <a:ext cx="4763468" cy="4327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s-ES"/>
              <a:t>Fecha</a:t>
            </a:r>
          </a:p>
        </p:txBody>
      </p:sp>
      <p:sp>
        <p:nvSpPr>
          <p:cNvPr id="12" name="18 Marcador de texto">
            <a:extLst>
              <a:ext uri="{FF2B5EF4-FFF2-40B4-BE49-F238E27FC236}">
                <a16:creationId xmlns:a16="http://schemas.microsoft.com/office/drawing/2014/main" id="{B5E1FDB3-9267-D2D3-65A0-CA8557C2419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460" y="1898071"/>
            <a:ext cx="4763604" cy="10081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Bef>
                <a:spcPts val="300"/>
              </a:spcBef>
              <a:buNone/>
              <a:defRPr sz="2700" b="1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r">
              <a:buNone/>
              <a:defRPr/>
            </a:lvl2pPr>
            <a:lvl3pPr marL="685800" indent="0" algn="r">
              <a:buNone/>
              <a:defRPr/>
            </a:lvl3pPr>
            <a:lvl4pPr marL="1028700" indent="0" algn="r">
              <a:buNone/>
              <a:defRPr/>
            </a:lvl4pPr>
            <a:lvl5pPr marL="1371600" indent="0" algn="r">
              <a:buNone/>
              <a:defRPr/>
            </a:lvl5pPr>
          </a:lstStyle>
          <a:p>
            <a:pPr lvl="0"/>
            <a:r>
              <a:rPr lang="es-ES"/>
              <a:t>Título de la presentación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5782F092-7CB0-2478-215D-0BF93A145B55}"/>
              </a:ext>
            </a:extLst>
          </p:cNvPr>
          <p:cNvCxnSpPr>
            <a:cxnSpLocks/>
          </p:cNvCxnSpPr>
          <p:nvPr userDrawn="1"/>
        </p:nvCxnSpPr>
        <p:spPr>
          <a:xfrm>
            <a:off x="375658" y="2906184"/>
            <a:ext cx="4196342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hord 31">
            <a:extLst>
              <a:ext uri="{FF2B5EF4-FFF2-40B4-BE49-F238E27FC236}">
                <a16:creationId xmlns:a16="http://schemas.microsoft.com/office/drawing/2014/main" id="{E82DAA0A-002C-1DA0-9468-B86CDED2D13E}"/>
              </a:ext>
            </a:extLst>
          </p:cNvPr>
          <p:cNvSpPr/>
          <p:nvPr userDrawn="1"/>
        </p:nvSpPr>
        <p:spPr>
          <a:xfrm rot="1384291">
            <a:off x="11029941" y="1090133"/>
            <a:ext cx="2118984" cy="2118984"/>
          </a:xfrm>
          <a:prstGeom prst="chord">
            <a:avLst>
              <a:gd name="adj1" fmla="val 3706853"/>
              <a:gd name="adj2" fmla="val 15198087"/>
            </a:avLst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D64E6343-6A31-9606-2F4C-36F9FD8334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8549" t="3920" b="-1"/>
          <a:stretch/>
        </p:blipFill>
        <p:spPr>
          <a:xfrm>
            <a:off x="9856662" y="145019"/>
            <a:ext cx="1235965" cy="308368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0725B6F8-DEB9-E537-76CC-18BA3ACDAA5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1123277" y="145019"/>
            <a:ext cx="451082" cy="300721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921A6655-BE72-52DC-DEE0-EB111363476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1605009" y="145019"/>
            <a:ext cx="451257" cy="300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307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cias por su aten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to 23" hidden="1">
            <a:extLst>
              <a:ext uri="{FF2B5EF4-FFF2-40B4-BE49-F238E27FC236}">
                <a16:creationId xmlns:a16="http://schemas.microsoft.com/office/drawing/2014/main" id="{81D7397D-C91D-41A4-A686-41955D1D97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7554338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24" name="Objeto 23" hidden="1">
                        <a:extLst>
                          <a:ext uri="{FF2B5EF4-FFF2-40B4-BE49-F238E27FC236}">
                            <a16:creationId xmlns:a16="http://schemas.microsoft.com/office/drawing/2014/main" id="{81D7397D-C91D-41A4-A686-41955D1D97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lide Number Placeholder 17">
            <a:extLst>
              <a:ext uri="{FF2B5EF4-FFF2-40B4-BE49-F238E27FC236}">
                <a16:creationId xmlns:a16="http://schemas.microsoft.com/office/drawing/2014/main" id="{BB253401-6163-4A5A-B112-55326ABCC4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9624" y="6309325"/>
            <a:ext cx="480053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0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CECDAE5-3B81-401B-AAD2-D1C88E06865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2" name="Rectángulo 1" descr="Etiqueta TLP de seguridad: GREEN">
            <a:extLst>
              <a:ext uri="{FF2B5EF4-FFF2-40B4-BE49-F238E27FC236}">
                <a16:creationId xmlns:a16="http://schemas.microsoft.com/office/drawing/2014/main" id="{C23682B4-E178-3E33-7D3E-6A3A1EB37E94}"/>
              </a:ext>
            </a:extLst>
          </p:cNvPr>
          <p:cNvSpPr/>
          <p:nvPr userDrawn="1"/>
        </p:nvSpPr>
        <p:spPr>
          <a:xfrm>
            <a:off x="986114" y="6499601"/>
            <a:ext cx="1199456" cy="15369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3" name="CuadroTexto 2" descr="Etiqueta TLP de seguridad: GREEN">
            <a:extLst>
              <a:ext uri="{FF2B5EF4-FFF2-40B4-BE49-F238E27FC236}">
                <a16:creationId xmlns:a16="http://schemas.microsoft.com/office/drawing/2014/main" id="{9DF008DE-C80D-8D3F-7354-974A800D0A75}"/>
              </a:ext>
            </a:extLst>
          </p:cNvPr>
          <p:cNvSpPr txBox="1"/>
          <p:nvPr userDrawn="1"/>
        </p:nvSpPr>
        <p:spPr>
          <a:xfrm>
            <a:off x="986113" y="6453336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>
                <a:solidFill>
                  <a:schemeClr val="bg1"/>
                </a:solidFill>
              </a:rPr>
              <a:t>TLP: GREEN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C90D90E-A712-AD91-C9FA-965F66D4FDA6}"/>
              </a:ext>
            </a:extLst>
          </p:cNvPr>
          <p:cNvSpPr txBox="1"/>
          <p:nvPr userDrawn="1"/>
        </p:nvSpPr>
        <p:spPr>
          <a:xfrm>
            <a:off x="165087" y="6455996"/>
            <a:ext cx="100712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000" b="0">
                <a:solidFill>
                  <a:schemeClr val="tx1">
                    <a:lumMod val="75000"/>
                  </a:schemeClr>
                </a:solidFill>
              </a:rPr>
              <a:t>USO OFICIAL</a:t>
            </a:r>
          </a:p>
        </p:txBody>
      </p:sp>
      <p:sp>
        <p:nvSpPr>
          <p:cNvPr id="6" name="Flowchart: Delay 20">
            <a:extLst>
              <a:ext uri="{FF2B5EF4-FFF2-40B4-BE49-F238E27FC236}">
                <a16:creationId xmlns:a16="http://schemas.microsoft.com/office/drawing/2014/main" id="{54503367-62DB-63FD-2E3E-510C64296FDE}"/>
              </a:ext>
            </a:extLst>
          </p:cNvPr>
          <p:cNvSpPr/>
          <p:nvPr userDrawn="1"/>
        </p:nvSpPr>
        <p:spPr>
          <a:xfrm>
            <a:off x="0" y="-32084"/>
            <a:ext cx="6981695" cy="6917526"/>
          </a:xfrm>
          <a:custGeom>
            <a:avLst/>
            <a:gdLst>
              <a:gd name="connsiteX0" fmla="*/ 0 w 6885442"/>
              <a:gd name="connsiteY0" fmla="*/ 0 h 6885442"/>
              <a:gd name="connsiteX1" fmla="*/ 3442721 w 6885442"/>
              <a:gd name="connsiteY1" fmla="*/ 0 h 6885442"/>
              <a:gd name="connsiteX2" fmla="*/ 6885442 w 6885442"/>
              <a:gd name="connsiteY2" fmla="*/ 3442721 h 6885442"/>
              <a:gd name="connsiteX3" fmla="*/ 3442721 w 6885442"/>
              <a:gd name="connsiteY3" fmla="*/ 6885442 h 6885442"/>
              <a:gd name="connsiteX4" fmla="*/ 0 w 6885442"/>
              <a:gd name="connsiteY4" fmla="*/ 6885442 h 6885442"/>
              <a:gd name="connsiteX5" fmla="*/ 0 w 6885442"/>
              <a:gd name="connsiteY5" fmla="*/ 0 h 6885442"/>
              <a:gd name="connsiteX0" fmla="*/ 96253 w 6981695"/>
              <a:gd name="connsiteY0" fmla="*/ 0 h 6885442"/>
              <a:gd name="connsiteX1" fmla="*/ 3538974 w 6981695"/>
              <a:gd name="connsiteY1" fmla="*/ 0 h 6885442"/>
              <a:gd name="connsiteX2" fmla="*/ 6981695 w 6981695"/>
              <a:gd name="connsiteY2" fmla="*/ 3442721 h 6885442"/>
              <a:gd name="connsiteX3" fmla="*/ 3538974 w 6981695"/>
              <a:gd name="connsiteY3" fmla="*/ 6885442 h 6885442"/>
              <a:gd name="connsiteX4" fmla="*/ 0 w 6981695"/>
              <a:gd name="connsiteY4" fmla="*/ 6885442 h 6885442"/>
              <a:gd name="connsiteX5" fmla="*/ 96253 w 6981695"/>
              <a:gd name="connsiteY5" fmla="*/ 0 h 6885442"/>
              <a:gd name="connsiteX0" fmla="*/ 0 w 6981695"/>
              <a:gd name="connsiteY0" fmla="*/ 0 h 6917526"/>
              <a:gd name="connsiteX1" fmla="*/ 3538974 w 6981695"/>
              <a:gd name="connsiteY1" fmla="*/ 32084 h 6917526"/>
              <a:gd name="connsiteX2" fmla="*/ 6981695 w 6981695"/>
              <a:gd name="connsiteY2" fmla="*/ 3474805 h 6917526"/>
              <a:gd name="connsiteX3" fmla="*/ 3538974 w 6981695"/>
              <a:gd name="connsiteY3" fmla="*/ 6917526 h 6917526"/>
              <a:gd name="connsiteX4" fmla="*/ 0 w 6981695"/>
              <a:gd name="connsiteY4" fmla="*/ 6917526 h 6917526"/>
              <a:gd name="connsiteX5" fmla="*/ 0 w 6981695"/>
              <a:gd name="connsiteY5" fmla="*/ 0 h 6917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981695" h="6917526">
                <a:moveTo>
                  <a:pt x="0" y="0"/>
                </a:moveTo>
                <a:lnTo>
                  <a:pt x="3538974" y="32084"/>
                </a:lnTo>
                <a:cubicBezTo>
                  <a:pt x="5440336" y="32084"/>
                  <a:pt x="6981695" y="1573443"/>
                  <a:pt x="6981695" y="3474805"/>
                </a:cubicBezTo>
                <a:cubicBezTo>
                  <a:pt x="6981695" y="5376167"/>
                  <a:pt x="5440336" y="6917526"/>
                  <a:pt x="3538974" y="6917526"/>
                </a:cubicBezTo>
                <a:lnTo>
                  <a:pt x="0" y="691752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74E8E"/>
              </a:gs>
              <a:gs pos="100000">
                <a:srgbClr val="137ADB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Oval 13">
            <a:extLst>
              <a:ext uri="{FF2B5EF4-FFF2-40B4-BE49-F238E27FC236}">
                <a16:creationId xmlns:a16="http://schemas.microsoft.com/office/drawing/2014/main" id="{F6AB1073-4C41-CBB4-FB8D-3BB71896AD46}"/>
              </a:ext>
            </a:extLst>
          </p:cNvPr>
          <p:cNvSpPr/>
          <p:nvPr userDrawn="1"/>
        </p:nvSpPr>
        <p:spPr>
          <a:xfrm>
            <a:off x="6050956" y="1013397"/>
            <a:ext cx="620746" cy="62074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Oval 14">
            <a:extLst>
              <a:ext uri="{FF2B5EF4-FFF2-40B4-BE49-F238E27FC236}">
                <a16:creationId xmlns:a16="http://schemas.microsoft.com/office/drawing/2014/main" id="{05E0351F-AFB2-99C6-9632-399FC057E697}"/>
              </a:ext>
            </a:extLst>
          </p:cNvPr>
          <p:cNvSpPr/>
          <p:nvPr userDrawn="1"/>
        </p:nvSpPr>
        <p:spPr>
          <a:xfrm>
            <a:off x="6906462" y="708758"/>
            <a:ext cx="304639" cy="304639"/>
          </a:xfrm>
          <a:prstGeom prst="ellipse">
            <a:avLst/>
          </a:prstGeom>
          <a:solidFill>
            <a:srgbClr val="074E8E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Oval 15">
            <a:extLst>
              <a:ext uri="{FF2B5EF4-FFF2-40B4-BE49-F238E27FC236}">
                <a16:creationId xmlns:a16="http://schemas.microsoft.com/office/drawing/2014/main" id="{4A241DA4-D3DD-B491-7DDB-A36E525F0ED3}"/>
              </a:ext>
            </a:extLst>
          </p:cNvPr>
          <p:cNvSpPr/>
          <p:nvPr userDrawn="1"/>
        </p:nvSpPr>
        <p:spPr>
          <a:xfrm>
            <a:off x="5375920" y="2204864"/>
            <a:ext cx="3135942" cy="3135942"/>
          </a:xfrm>
          <a:prstGeom prst="ellipse">
            <a:avLst/>
          </a:prstGeom>
          <a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Chord 21">
            <a:extLst>
              <a:ext uri="{FF2B5EF4-FFF2-40B4-BE49-F238E27FC236}">
                <a16:creationId xmlns:a16="http://schemas.microsoft.com/office/drawing/2014/main" id="{4830565C-FE1E-BD26-898A-FB39F0125528}"/>
              </a:ext>
            </a:extLst>
          </p:cNvPr>
          <p:cNvSpPr/>
          <p:nvPr userDrawn="1"/>
        </p:nvSpPr>
        <p:spPr>
          <a:xfrm rot="12131859">
            <a:off x="-672912" y="4614477"/>
            <a:ext cx="1480436" cy="1480436"/>
          </a:xfrm>
          <a:prstGeom prst="chord">
            <a:avLst>
              <a:gd name="adj1" fmla="val 3706853"/>
              <a:gd name="adj2" fmla="val 15198087"/>
            </a:avLst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6" name="Oval 14">
            <a:extLst>
              <a:ext uri="{FF2B5EF4-FFF2-40B4-BE49-F238E27FC236}">
                <a16:creationId xmlns:a16="http://schemas.microsoft.com/office/drawing/2014/main" id="{096FC895-3891-4A20-EBF8-4DFA5D645032}"/>
              </a:ext>
            </a:extLst>
          </p:cNvPr>
          <p:cNvSpPr/>
          <p:nvPr userDrawn="1"/>
        </p:nvSpPr>
        <p:spPr>
          <a:xfrm>
            <a:off x="8688288" y="5085184"/>
            <a:ext cx="504056" cy="504056"/>
          </a:xfrm>
          <a:prstGeom prst="ellipse">
            <a:avLst/>
          </a:prstGeom>
          <a:solidFill>
            <a:srgbClr val="BF051A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TextBox 20">
            <a:extLst>
              <a:ext uri="{FF2B5EF4-FFF2-40B4-BE49-F238E27FC236}">
                <a16:creationId xmlns:a16="http://schemas.microsoft.com/office/drawing/2014/main" id="{0CABCB9C-9D46-6373-05E8-59BA088A302D}"/>
              </a:ext>
            </a:extLst>
          </p:cNvPr>
          <p:cNvSpPr txBox="1"/>
          <p:nvPr userDrawn="1"/>
        </p:nvSpPr>
        <p:spPr>
          <a:xfrm>
            <a:off x="695399" y="1340768"/>
            <a:ext cx="437052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4800" b="1" err="1">
                <a:solidFill>
                  <a:schemeClr val="bg1"/>
                </a:solidFill>
              </a:rPr>
              <a:t>Thank</a:t>
            </a:r>
            <a:r>
              <a:rPr lang="es-ES" sz="4800" b="1">
                <a:solidFill>
                  <a:schemeClr val="bg1"/>
                </a:solidFill>
              </a:rPr>
              <a:t> </a:t>
            </a:r>
            <a:r>
              <a:rPr lang="es-ES" sz="4800" b="1" err="1">
                <a:solidFill>
                  <a:schemeClr val="bg1"/>
                </a:solidFill>
              </a:rPr>
              <a:t>you</a:t>
            </a:r>
            <a:r>
              <a:rPr lang="es-ES" sz="4800" b="1">
                <a:solidFill>
                  <a:schemeClr val="bg1"/>
                </a:solidFill>
              </a:rPr>
              <a:t> </a:t>
            </a:r>
            <a:r>
              <a:rPr lang="es-ES" sz="4800" b="1" err="1">
                <a:solidFill>
                  <a:schemeClr val="bg1"/>
                </a:solidFill>
              </a:rPr>
              <a:t>for</a:t>
            </a:r>
            <a:r>
              <a:rPr lang="es-ES" sz="4800" b="1">
                <a:solidFill>
                  <a:schemeClr val="bg1"/>
                </a:solidFill>
              </a:rPr>
              <a:t> </a:t>
            </a:r>
            <a:r>
              <a:rPr lang="es-ES" sz="4800" b="1" err="1">
                <a:solidFill>
                  <a:schemeClr val="bg1"/>
                </a:solidFill>
              </a:rPr>
              <a:t>your</a:t>
            </a:r>
            <a:r>
              <a:rPr lang="es-ES" sz="4800" b="1">
                <a:solidFill>
                  <a:schemeClr val="bg1"/>
                </a:solidFill>
              </a:rPr>
              <a:t> </a:t>
            </a:r>
            <a:r>
              <a:rPr lang="es-ES" sz="4800" b="1" err="1">
                <a:solidFill>
                  <a:schemeClr val="bg1"/>
                </a:solidFill>
              </a:rPr>
              <a:t>atention</a:t>
            </a:r>
            <a:r>
              <a:rPr lang="es-ES" sz="4800" b="1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17" name="Picture 7">
            <a:extLst>
              <a:ext uri="{FF2B5EF4-FFF2-40B4-BE49-F238E27FC236}">
                <a16:creationId xmlns:a16="http://schemas.microsoft.com/office/drawing/2014/main" id="{0B52855F-11B6-E623-4975-5A17CF2966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8549" t="3920" b="-1"/>
          <a:stretch/>
        </p:blipFill>
        <p:spPr>
          <a:xfrm>
            <a:off x="9856662" y="145019"/>
            <a:ext cx="1235965" cy="308368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F4C66C64-E182-672E-3135-EA688A6BE2F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1123277" y="145019"/>
            <a:ext cx="451082" cy="300721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5ECCE340-A25F-78B3-A7C0-B76CFE78B9D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1605009" y="145019"/>
            <a:ext cx="451257" cy="300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7788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people putting their hands together&#10;&#10;Description automatically generated">
            <a:extLst>
              <a:ext uri="{FF2B5EF4-FFF2-40B4-BE49-F238E27FC236}">
                <a16:creationId xmlns:a16="http://schemas.microsoft.com/office/drawing/2014/main" id="{982256A1-8917-3EC9-F9FC-28C1F42F33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4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340293EA-65D7-41AF-8C73-8085F2DAF0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3630261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340293EA-65D7-41AF-8C73-8085F2DAF0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Imagen 28">
            <a:extLst>
              <a:ext uri="{FF2B5EF4-FFF2-40B4-BE49-F238E27FC236}">
                <a16:creationId xmlns:a16="http://schemas.microsoft.com/office/drawing/2014/main" id="{71AEFC04-7882-46DE-9C4C-BBD2B909C9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r="68770" b="-377"/>
          <a:stretch/>
        </p:blipFill>
        <p:spPr>
          <a:xfrm>
            <a:off x="437811" y="451164"/>
            <a:ext cx="1024963" cy="833041"/>
          </a:xfrm>
          <a:prstGeom prst="rect">
            <a:avLst/>
          </a:prstGeom>
        </p:spPr>
      </p:pic>
      <p:sp>
        <p:nvSpPr>
          <p:cNvPr id="33" name="3 Marcador de texto">
            <a:extLst>
              <a:ext uri="{FF2B5EF4-FFF2-40B4-BE49-F238E27FC236}">
                <a16:creationId xmlns:a16="http://schemas.microsoft.com/office/drawing/2014/main" id="{4BEC0FC8-FA5D-4C89-8354-D52560E34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1462774" y="440723"/>
            <a:ext cx="7209790" cy="17278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algn="just">
              <a:lnSpc>
                <a:spcPct val="115000"/>
              </a:lnSpc>
              <a:spcAft>
                <a:spcPts val="800"/>
              </a:spcAft>
            </a:pPr>
            <a:r>
              <a:rPr lang="es-ES" sz="4000" b="0" kern="12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rategia</a:t>
            </a:r>
            <a:endParaRPr lang="es-ES" sz="900" b="0">
              <a:solidFill>
                <a:schemeClr val="tx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" name="Graphic 10">
            <a:extLst>
              <a:ext uri="{FF2B5EF4-FFF2-40B4-BE49-F238E27FC236}">
                <a16:creationId xmlns:a16="http://schemas.microsoft.com/office/drawing/2014/main" id="{50B41FDF-25EB-AF35-24FB-E29338DE41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52072" t="42879"/>
          <a:stretch/>
        </p:blipFill>
        <p:spPr>
          <a:xfrm>
            <a:off x="-36512" y="-3983"/>
            <a:ext cx="5603476" cy="6097279"/>
          </a:xfrm>
          <a:prstGeom prst="rect">
            <a:avLst/>
          </a:prstGeom>
        </p:spPr>
      </p:pic>
      <p:sp>
        <p:nvSpPr>
          <p:cNvPr id="7" name="Oval 11">
            <a:extLst>
              <a:ext uri="{FF2B5EF4-FFF2-40B4-BE49-F238E27FC236}">
                <a16:creationId xmlns:a16="http://schemas.microsoft.com/office/drawing/2014/main" id="{2C257186-CDC6-405F-14B4-47761CC7186C}"/>
              </a:ext>
            </a:extLst>
          </p:cNvPr>
          <p:cNvSpPr/>
          <p:nvPr userDrawn="1"/>
        </p:nvSpPr>
        <p:spPr>
          <a:xfrm>
            <a:off x="5219540" y="268527"/>
            <a:ext cx="648072" cy="64807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Oval 12">
            <a:extLst>
              <a:ext uri="{FF2B5EF4-FFF2-40B4-BE49-F238E27FC236}">
                <a16:creationId xmlns:a16="http://schemas.microsoft.com/office/drawing/2014/main" id="{BC1FBEBC-21C8-28E5-1121-1F74D30722E7}"/>
              </a:ext>
            </a:extLst>
          </p:cNvPr>
          <p:cNvSpPr/>
          <p:nvPr userDrawn="1"/>
        </p:nvSpPr>
        <p:spPr>
          <a:xfrm>
            <a:off x="1775520" y="4509120"/>
            <a:ext cx="1658971" cy="165897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18 Marcador de texto">
            <a:extLst>
              <a:ext uri="{FF2B5EF4-FFF2-40B4-BE49-F238E27FC236}">
                <a16:creationId xmlns:a16="http://schemas.microsoft.com/office/drawing/2014/main" id="{F1492904-4015-2FC1-6B1E-861EE6ECA0D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4460" y="2991255"/>
            <a:ext cx="4763604" cy="5767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r">
              <a:buNone/>
              <a:defRPr/>
            </a:lvl2pPr>
            <a:lvl3pPr marL="685800" indent="0" algn="r">
              <a:buNone/>
              <a:defRPr/>
            </a:lvl3pPr>
            <a:lvl4pPr marL="1028700" indent="0" algn="r">
              <a:buNone/>
              <a:defRPr/>
            </a:lvl4pPr>
            <a:lvl5pPr marL="1371600" indent="0" algn="r">
              <a:buNone/>
              <a:defRPr/>
            </a:lvl5pPr>
          </a:lstStyle>
          <a:p>
            <a:pPr lvl="0"/>
            <a:r>
              <a:rPr lang="es-ES"/>
              <a:t>Subtítulo de la presentación</a:t>
            </a:r>
          </a:p>
        </p:txBody>
      </p:sp>
      <p:sp>
        <p:nvSpPr>
          <p:cNvPr id="11" name="21 Marcador de texto">
            <a:extLst>
              <a:ext uri="{FF2B5EF4-FFF2-40B4-BE49-F238E27FC236}">
                <a16:creationId xmlns:a16="http://schemas.microsoft.com/office/drawing/2014/main" id="{23C23D42-2BEB-E9EF-5E32-A9B2E90F91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4460" y="3707177"/>
            <a:ext cx="4763468" cy="4327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s-ES"/>
              <a:t>Fecha</a:t>
            </a:r>
          </a:p>
        </p:txBody>
      </p:sp>
      <p:sp>
        <p:nvSpPr>
          <p:cNvPr id="12" name="18 Marcador de texto">
            <a:extLst>
              <a:ext uri="{FF2B5EF4-FFF2-40B4-BE49-F238E27FC236}">
                <a16:creationId xmlns:a16="http://schemas.microsoft.com/office/drawing/2014/main" id="{B5E1FDB3-9267-D2D3-65A0-CA8557C2419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460" y="1898071"/>
            <a:ext cx="4763604" cy="10081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Bef>
                <a:spcPts val="300"/>
              </a:spcBef>
              <a:buNone/>
              <a:defRPr sz="2700" b="1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r">
              <a:buNone/>
              <a:defRPr/>
            </a:lvl2pPr>
            <a:lvl3pPr marL="685800" indent="0" algn="r">
              <a:buNone/>
              <a:defRPr/>
            </a:lvl3pPr>
            <a:lvl4pPr marL="1028700" indent="0" algn="r">
              <a:buNone/>
              <a:defRPr/>
            </a:lvl4pPr>
            <a:lvl5pPr marL="1371600" indent="0" algn="r">
              <a:buNone/>
              <a:defRPr/>
            </a:lvl5pPr>
          </a:lstStyle>
          <a:p>
            <a:pPr lvl="0"/>
            <a:r>
              <a:rPr lang="es-ES"/>
              <a:t>Título de la presentación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5782F092-7CB0-2478-215D-0BF93A145B55}"/>
              </a:ext>
            </a:extLst>
          </p:cNvPr>
          <p:cNvCxnSpPr>
            <a:cxnSpLocks/>
          </p:cNvCxnSpPr>
          <p:nvPr userDrawn="1"/>
        </p:nvCxnSpPr>
        <p:spPr>
          <a:xfrm>
            <a:off x="375658" y="2906184"/>
            <a:ext cx="4196342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hord 31">
            <a:extLst>
              <a:ext uri="{FF2B5EF4-FFF2-40B4-BE49-F238E27FC236}">
                <a16:creationId xmlns:a16="http://schemas.microsoft.com/office/drawing/2014/main" id="{E82DAA0A-002C-1DA0-9468-B86CDED2D13E}"/>
              </a:ext>
            </a:extLst>
          </p:cNvPr>
          <p:cNvSpPr/>
          <p:nvPr userDrawn="1"/>
        </p:nvSpPr>
        <p:spPr>
          <a:xfrm rot="1384291">
            <a:off x="11029941" y="1090133"/>
            <a:ext cx="2118984" cy="2118984"/>
          </a:xfrm>
          <a:prstGeom prst="chord">
            <a:avLst>
              <a:gd name="adj1" fmla="val 3706853"/>
              <a:gd name="adj2" fmla="val 15198087"/>
            </a:avLst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6C1D913E-E8A5-7669-BA30-B988FB084A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8549" t="3920" b="-1"/>
          <a:stretch/>
        </p:blipFill>
        <p:spPr>
          <a:xfrm>
            <a:off x="9856662" y="145019"/>
            <a:ext cx="1235965" cy="308368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487A3D4D-818A-9981-7AAC-1BDBA2BEA3FF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1123277" y="145019"/>
            <a:ext cx="451082" cy="300721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CCC8D921-0208-7ACB-CE39-7DD3ECDF57A9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1605009" y="145019"/>
            <a:ext cx="451257" cy="300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900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340293EA-65D7-41AF-8C73-8085F2DAF0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3630261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340293EA-65D7-41AF-8C73-8085F2DAF0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4">
            <a:extLst>
              <a:ext uri="{FF2B5EF4-FFF2-40B4-BE49-F238E27FC236}">
                <a16:creationId xmlns:a16="http://schemas.microsoft.com/office/drawing/2014/main" id="{56519AD6-9CCA-CFBD-0BDB-77911D2BDC13}"/>
              </a:ext>
            </a:extLst>
          </p:cNvPr>
          <p:cNvSpPr/>
          <p:nvPr userDrawn="1"/>
        </p:nvSpPr>
        <p:spPr>
          <a:xfrm>
            <a:off x="-12272" y="1699643"/>
            <a:ext cx="12204271" cy="418102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90000">
                <a:schemeClr val="tx1">
                  <a:lumMod val="50000"/>
                  <a:alpha val="29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Chord 16">
            <a:extLst>
              <a:ext uri="{FF2B5EF4-FFF2-40B4-BE49-F238E27FC236}">
                <a16:creationId xmlns:a16="http://schemas.microsoft.com/office/drawing/2014/main" id="{425D46DD-2F63-111A-E6F0-FF5A3DD459CF}"/>
              </a:ext>
            </a:extLst>
          </p:cNvPr>
          <p:cNvSpPr/>
          <p:nvPr userDrawn="1"/>
        </p:nvSpPr>
        <p:spPr>
          <a:xfrm>
            <a:off x="8858069" y="-603448"/>
            <a:ext cx="9551299" cy="9551299"/>
          </a:xfrm>
          <a:prstGeom prst="chord">
            <a:avLst>
              <a:gd name="adj1" fmla="val 6256074"/>
              <a:gd name="adj2" fmla="val 15232403"/>
            </a:avLst>
          </a:prstGeom>
          <a:blipFill dpi="0" rotWithShape="1">
            <a:blip r:embed="rId5">
              <a:grayscl/>
            </a:blip>
            <a:srcRect/>
            <a:stretch>
              <a:fillRect l="-108683" t="-4410" r="-103487" b="4410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Oval 5">
            <a:extLst>
              <a:ext uri="{FF2B5EF4-FFF2-40B4-BE49-F238E27FC236}">
                <a16:creationId xmlns:a16="http://schemas.microsoft.com/office/drawing/2014/main" id="{F0EE353C-D708-9933-61C9-D28531ECE01A}"/>
              </a:ext>
            </a:extLst>
          </p:cNvPr>
          <p:cNvSpPr/>
          <p:nvPr userDrawn="1"/>
        </p:nvSpPr>
        <p:spPr>
          <a:xfrm>
            <a:off x="9120441" y="206789"/>
            <a:ext cx="1691894" cy="169189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5" name="Título 1">
            <a:extLst>
              <a:ext uri="{FF2B5EF4-FFF2-40B4-BE49-F238E27FC236}">
                <a16:creationId xmlns:a16="http://schemas.microsoft.com/office/drawing/2014/main" id="{2E48C82F-D819-A88E-E174-B302D7866B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9762" y="548680"/>
            <a:ext cx="2023250" cy="1143000"/>
          </a:xfrm>
        </p:spPr>
        <p:txBody>
          <a:bodyPr>
            <a:noAutofit/>
          </a:bodyPr>
          <a:lstStyle>
            <a:lvl1pPr algn="l">
              <a:defRPr sz="4800" b="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es-ES"/>
              <a:t>INDEX</a:t>
            </a:r>
          </a:p>
        </p:txBody>
      </p:sp>
      <p:pic>
        <p:nvPicPr>
          <p:cNvPr id="10" name="Picture 7">
            <a:extLst>
              <a:ext uri="{FF2B5EF4-FFF2-40B4-BE49-F238E27FC236}">
                <a16:creationId xmlns:a16="http://schemas.microsoft.com/office/drawing/2014/main" id="{16F75846-90F1-820F-7871-29A8A3448D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8549" t="3920" b="-1"/>
          <a:stretch/>
        </p:blipFill>
        <p:spPr>
          <a:xfrm>
            <a:off x="9856662" y="145019"/>
            <a:ext cx="1235965" cy="308368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1294A110-559E-2A98-D0DC-C00F81D57C9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123277" y="145019"/>
            <a:ext cx="451082" cy="300721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89571A44-080D-B38C-F9AD-BE3D0E2CC66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1605009" y="145019"/>
            <a:ext cx="451257" cy="300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1336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Í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4E62079-D18D-4018-A12B-BDD165DE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949700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4E62079-D18D-4018-A12B-BDD165DE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5">
            <a:extLst>
              <a:ext uri="{FF2B5EF4-FFF2-40B4-BE49-F238E27FC236}">
                <a16:creationId xmlns:a16="http://schemas.microsoft.com/office/drawing/2014/main" id="{7301E3B1-ED0F-D8D8-1B5B-E44A337408D5}"/>
              </a:ext>
            </a:extLst>
          </p:cNvPr>
          <p:cNvSpPr/>
          <p:nvPr userDrawn="1"/>
        </p:nvSpPr>
        <p:spPr>
          <a:xfrm>
            <a:off x="531414" y="0"/>
            <a:ext cx="11660586" cy="503810"/>
          </a:xfrm>
          <a:prstGeom prst="rect">
            <a:avLst/>
          </a:prstGeom>
          <a:gradFill flip="none" rotWithShape="1">
            <a:gsLst>
              <a:gs pos="0">
                <a:srgbClr val="12325C"/>
              </a:gs>
              <a:gs pos="100000">
                <a:srgbClr val="137ADB">
                  <a:alpha val="89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9" name="Picture 13">
            <a:extLst>
              <a:ext uri="{FF2B5EF4-FFF2-40B4-BE49-F238E27FC236}">
                <a16:creationId xmlns:a16="http://schemas.microsoft.com/office/drawing/2014/main" id="{BE576848-6CC6-8D73-CDE1-4710B6306A4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58821" y="658178"/>
            <a:ext cx="2353260" cy="6236749"/>
          </a:xfrm>
          <a:prstGeom prst="rect">
            <a:avLst/>
          </a:prstGeom>
        </p:spPr>
      </p:pic>
      <p:sp>
        <p:nvSpPr>
          <p:cNvPr id="10" name="Oval 3">
            <a:extLst>
              <a:ext uri="{FF2B5EF4-FFF2-40B4-BE49-F238E27FC236}">
                <a16:creationId xmlns:a16="http://schemas.microsoft.com/office/drawing/2014/main" id="{5D283505-3E19-C249-8C78-3D18CA7B5338}"/>
              </a:ext>
            </a:extLst>
          </p:cNvPr>
          <p:cNvSpPr/>
          <p:nvPr userDrawn="1"/>
        </p:nvSpPr>
        <p:spPr>
          <a:xfrm>
            <a:off x="11424592" y="-387424"/>
            <a:ext cx="1584176" cy="1584176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19A98BA2-B4B6-A665-11E9-234EDD95B1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3748" y="-83862"/>
            <a:ext cx="7067601" cy="620688"/>
          </a:xfrm>
        </p:spPr>
        <p:txBody>
          <a:bodyPr>
            <a:norm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id="{14512572-4EC7-F238-22D1-2BED4EECF9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22350" t="14254"/>
          <a:stretch/>
        </p:blipFill>
        <p:spPr>
          <a:xfrm>
            <a:off x="0" y="-3028"/>
            <a:ext cx="710094" cy="784124"/>
          </a:xfrm>
          <a:prstGeom prst="rect">
            <a:avLst/>
          </a:prstGeom>
        </p:spPr>
      </p:pic>
      <p:pic>
        <p:nvPicPr>
          <p:cNvPr id="2" name="Picture 7">
            <a:extLst>
              <a:ext uri="{FF2B5EF4-FFF2-40B4-BE49-F238E27FC236}">
                <a16:creationId xmlns:a16="http://schemas.microsoft.com/office/drawing/2014/main" id="{6168FEE7-71C5-C53E-77CF-2794F8C0BD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8549" t="3920" b="-1"/>
          <a:stretch/>
        </p:blipFill>
        <p:spPr>
          <a:xfrm>
            <a:off x="9149300" y="145019"/>
            <a:ext cx="1235965" cy="308368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BA61F860-140A-44C1-2B30-16A6F1ECE6B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415915" y="145019"/>
            <a:ext cx="451082" cy="300721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89C4FD83-DCEC-6823-CE8A-EF099A4B384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897647" y="145019"/>
            <a:ext cx="451257" cy="300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7489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Í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4E62079-D18D-4018-A12B-BDD165DE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949700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4E62079-D18D-4018-A12B-BDD165DE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5">
            <a:extLst>
              <a:ext uri="{FF2B5EF4-FFF2-40B4-BE49-F238E27FC236}">
                <a16:creationId xmlns:a16="http://schemas.microsoft.com/office/drawing/2014/main" id="{7301E3B1-ED0F-D8D8-1B5B-E44A337408D5}"/>
              </a:ext>
            </a:extLst>
          </p:cNvPr>
          <p:cNvSpPr/>
          <p:nvPr userDrawn="1"/>
        </p:nvSpPr>
        <p:spPr>
          <a:xfrm>
            <a:off x="531414" y="0"/>
            <a:ext cx="11660586" cy="503810"/>
          </a:xfrm>
          <a:prstGeom prst="rect">
            <a:avLst/>
          </a:prstGeom>
          <a:gradFill flip="none" rotWithShape="1">
            <a:gsLst>
              <a:gs pos="0">
                <a:srgbClr val="12325C"/>
              </a:gs>
              <a:gs pos="100000">
                <a:srgbClr val="137ADB">
                  <a:alpha val="89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9" name="Picture 13">
            <a:extLst>
              <a:ext uri="{FF2B5EF4-FFF2-40B4-BE49-F238E27FC236}">
                <a16:creationId xmlns:a16="http://schemas.microsoft.com/office/drawing/2014/main" id="{BE576848-6CC6-8D73-CDE1-4710B6306A4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58821" y="658178"/>
            <a:ext cx="2353260" cy="6236749"/>
          </a:xfrm>
          <a:prstGeom prst="rect">
            <a:avLst/>
          </a:prstGeom>
        </p:spPr>
      </p:pic>
      <p:sp>
        <p:nvSpPr>
          <p:cNvPr id="10" name="Oval 3">
            <a:extLst>
              <a:ext uri="{FF2B5EF4-FFF2-40B4-BE49-F238E27FC236}">
                <a16:creationId xmlns:a16="http://schemas.microsoft.com/office/drawing/2014/main" id="{5D283505-3E19-C249-8C78-3D18CA7B5338}"/>
              </a:ext>
            </a:extLst>
          </p:cNvPr>
          <p:cNvSpPr/>
          <p:nvPr userDrawn="1"/>
        </p:nvSpPr>
        <p:spPr>
          <a:xfrm>
            <a:off x="11424592" y="-387424"/>
            <a:ext cx="1584176" cy="1584176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19A98BA2-B4B6-A665-11E9-234EDD95B1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3748" y="-83862"/>
            <a:ext cx="7067601" cy="620688"/>
          </a:xfrm>
        </p:spPr>
        <p:txBody>
          <a:bodyPr>
            <a:norm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id="{14512572-4EC7-F238-22D1-2BED4EECF9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22350" t="14254"/>
          <a:stretch/>
        </p:blipFill>
        <p:spPr>
          <a:xfrm>
            <a:off x="0" y="-3028"/>
            <a:ext cx="710094" cy="784124"/>
          </a:xfrm>
          <a:prstGeom prst="rect">
            <a:avLst/>
          </a:prstGeom>
        </p:spPr>
      </p:pic>
      <p:pic>
        <p:nvPicPr>
          <p:cNvPr id="2" name="Picture 7">
            <a:extLst>
              <a:ext uri="{FF2B5EF4-FFF2-40B4-BE49-F238E27FC236}">
                <a16:creationId xmlns:a16="http://schemas.microsoft.com/office/drawing/2014/main" id="{B4E0859D-D358-F450-E861-707EF092B3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8549" t="3920" b="-1"/>
          <a:stretch/>
        </p:blipFill>
        <p:spPr>
          <a:xfrm>
            <a:off x="9149300" y="145019"/>
            <a:ext cx="1235965" cy="308368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CF167B1E-314D-2ADC-730C-6FF6E03C387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415915" y="145019"/>
            <a:ext cx="451082" cy="300721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7304A486-48AB-22C8-A631-2A204E74B0B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897647" y="145019"/>
            <a:ext cx="451257" cy="300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5519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Í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4E62079-D18D-4018-A12B-BDD165DE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949700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4E62079-D18D-4018-A12B-BDD165DE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5">
            <a:extLst>
              <a:ext uri="{FF2B5EF4-FFF2-40B4-BE49-F238E27FC236}">
                <a16:creationId xmlns:a16="http://schemas.microsoft.com/office/drawing/2014/main" id="{7301E3B1-ED0F-D8D8-1B5B-E44A337408D5}"/>
              </a:ext>
            </a:extLst>
          </p:cNvPr>
          <p:cNvSpPr/>
          <p:nvPr userDrawn="1"/>
        </p:nvSpPr>
        <p:spPr>
          <a:xfrm>
            <a:off x="531414" y="0"/>
            <a:ext cx="11660586" cy="503810"/>
          </a:xfrm>
          <a:prstGeom prst="rect">
            <a:avLst/>
          </a:prstGeom>
          <a:gradFill flip="none" rotWithShape="1">
            <a:gsLst>
              <a:gs pos="0">
                <a:srgbClr val="12325C"/>
              </a:gs>
              <a:gs pos="100000">
                <a:srgbClr val="137ADB">
                  <a:alpha val="89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Oval 3">
            <a:extLst>
              <a:ext uri="{FF2B5EF4-FFF2-40B4-BE49-F238E27FC236}">
                <a16:creationId xmlns:a16="http://schemas.microsoft.com/office/drawing/2014/main" id="{5D283505-3E19-C249-8C78-3D18CA7B5338}"/>
              </a:ext>
            </a:extLst>
          </p:cNvPr>
          <p:cNvSpPr/>
          <p:nvPr userDrawn="1"/>
        </p:nvSpPr>
        <p:spPr>
          <a:xfrm>
            <a:off x="11424592" y="-387424"/>
            <a:ext cx="1584176" cy="1584176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19A98BA2-B4B6-A665-11E9-234EDD95B1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3748" y="-83862"/>
            <a:ext cx="7067601" cy="620688"/>
          </a:xfrm>
        </p:spPr>
        <p:txBody>
          <a:bodyPr>
            <a:norm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id="{14512572-4EC7-F238-22D1-2BED4EECF9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2350" t="14254"/>
          <a:stretch/>
        </p:blipFill>
        <p:spPr>
          <a:xfrm>
            <a:off x="0" y="-3028"/>
            <a:ext cx="710094" cy="784124"/>
          </a:xfrm>
          <a:prstGeom prst="rect">
            <a:avLst/>
          </a:prstGeom>
        </p:spPr>
      </p:pic>
      <p:pic>
        <p:nvPicPr>
          <p:cNvPr id="2" name="Picture 7">
            <a:extLst>
              <a:ext uri="{FF2B5EF4-FFF2-40B4-BE49-F238E27FC236}">
                <a16:creationId xmlns:a16="http://schemas.microsoft.com/office/drawing/2014/main" id="{79D990DC-9BEF-8CA0-75D1-755E907E0E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8549" t="3920" b="-1"/>
          <a:stretch/>
        </p:blipFill>
        <p:spPr>
          <a:xfrm>
            <a:off x="9149300" y="145019"/>
            <a:ext cx="1235965" cy="308368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E43C0816-0AA7-5E07-202A-FEC618795C5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15915" y="145019"/>
            <a:ext cx="451082" cy="300721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5F25FBD3-5037-26B1-2B84-EB12ED2279F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897647" y="145019"/>
            <a:ext cx="451257" cy="300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2290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Í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4E62079-D18D-4018-A12B-BDD165DE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949700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4E62079-D18D-4018-A12B-BDD165DE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5">
            <a:extLst>
              <a:ext uri="{FF2B5EF4-FFF2-40B4-BE49-F238E27FC236}">
                <a16:creationId xmlns:a16="http://schemas.microsoft.com/office/drawing/2014/main" id="{7301E3B1-ED0F-D8D8-1B5B-E44A337408D5}"/>
              </a:ext>
            </a:extLst>
          </p:cNvPr>
          <p:cNvSpPr/>
          <p:nvPr userDrawn="1"/>
        </p:nvSpPr>
        <p:spPr>
          <a:xfrm>
            <a:off x="531414" y="0"/>
            <a:ext cx="11660586" cy="503810"/>
          </a:xfrm>
          <a:prstGeom prst="rect">
            <a:avLst/>
          </a:prstGeom>
          <a:gradFill flip="none" rotWithShape="1">
            <a:gsLst>
              <a:gs pos="0">
                <a:srgbClr val="12325C"/>
              </a:gs>
              <a:gs pos="100000">
                <a:srgbClr val="137ADB">
                  <a:alpha val="89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Oval 3">
            <a:extLst>
              <a:ext uri="{FF2B5EF4-FFF2-40B4-BE49-F238E27FC236}">
                <a16:creationId xmlns:a16="http://schemas.microsoft.com/office/drawing/2014/main" id="{5D283505-3E19-C249-8C78-3D18CA7B5338}"/>
              </a:ext>
            </a:extLst>
          </p:cNvPr>
          <p:cNvSpPr/>
          <p:nvPr userDrawn="1"/>
        </p:nvSpPr>
        <p:spPr>
          <a:xfrm>
            <a:off x="11424592" y="-387424"/>
            <a:ext cx="1584176" cy="1584176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19A98BA2-B4B6-A665-11E9-234EDD95B1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3748" y="-83862"/>
            <a:ext cx="7067601" cy="620688"/>
          </a:xfrm>
        </p:spPr>
        <p:txBody>
          <a:bodyPr>
            <a:norm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id="{14512572-4EC7-F238-22D1-2BED4EECF9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2350" t="14254"/>
          <a:stretch/>
        </p:blipFill>
        <p:spPr>
          <a:xfrm>
            <a:off x="0" y="-3028"/>
            <a:ext cx="710094" cy="784124"/>
          </a:xfrm>
          <a:prstGeom prst="rect">
            <a:avLst/>
          </a:prstGeom>
        </p:spPr>
      </p:pic>
      <p:pic>
        <p:nvPicPr>
          <p:cNvPr id="2" name="Picture 7">
            <a:extLst>
              <a:ext uri="{FF2B5EF4-FFF2-40B4-BE49-F238E27FC236}">
                <a16:creationId xmlns:a16="http://schemas.microsoft.com/office/drawing/2014/main" id="{169F6C81-66CB-125D-F503-5715D8B9A5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8549" t="3920" b="-1"/>
          <a:stretch/>
        </p:blipFill>
        <p:spPr>
          <a:xfrm>
            <a:off x="9149300" y="145019"/>
            <a:ext cx="1235965" cy="308368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CDADCE11-F1C4-05FD-077E-980F0D3EDB4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15915" y="145019"/>
            <a:ext cx="451082" cy="300721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D53D6E49-7826-A4EF-97EC-3A25FAB2B51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897647" y="145019"/>
            <a:ext cx="451257" cy="300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26075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4E62079-D18D-4018-A12B-BDD165DE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2352448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4E62079-D18D-4018-A12B-BDD165DE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>
            <a:extLst>
              <a:ext uri="{FF2B5EF4-FFF2-40B4-BE49-F238E27FC236}">
                <a16:creationId xmlns:a16="http://schemas.microsoft.com/office/drawing/2014/main" id="{53F74CFE-774D-43F8-BCA3-F1244456F2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7A7BF6E6-FC8E-4D1B-A9C3-80D6DE0EB67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68827" y="1916832"/>
            <a:ext cx="11113572" cy="4389120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 eaLnBrk="1" latinLnBrk="0" hangingPunct="1"/>
            <a:r>
              <a:rPr lang="es-ES"/>
              <a:t>Haga clic para modificar el estilo de texto del patrón</a:t>
            </a:r>
          </a:p>
          <a:p>
            <a:pPr lvl="1" eaLnBrk="1" latinLnBrk="0" hangingPunct="1"/>
            <a:r>
              <a:rPr lang="es-ES"/>
              <a:t>Segundo nivel</a:t>
            </a:r>
          </a:p>
          <a:p>
            <a:pPr lvl="2" eaLnBrk="1" latinLnBrk="0" hangingPunct="1"/>
            <a:r>
              <a:rPr lang="es-ES"/>
              <a:t>Tercer nivel</a:t>
            </a:r>
          </a:p>
          <a:p>
            <a:pPr lvl="3" eaLnBrk="1" latinLnBrk="0" hangingPunct="1"/>
            <a:r>
              <a:rPr lang="es-ES"/>
              <a:t>Cuarto nivel</a:t>
            </a:r>
          </a:p>
          <a:p>
            <a:pPr lvl="4" eaLnBrk="1" latinLnBrk="0" hangingPunct="1"/>
            <a:r>
              <a:rPr lang="es-ES"/>
              <a:t>Quinto nivel</a:t>
            </a:r>
            <a:endParaRPr kumimoji="0" lang="en-US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B25D3643-9EBC-42C1-9596-F31B249297BB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68827" y="935464"/>
            <a:ext cx="11113572" cy="738664"/>
          </a:xfrm>
        </p:spPr>
        <p:txBody>
          <a:bodyPr/>
          <a:lstStyle>
            <a:lvl1pPr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 eaLnBrk="1" latinLnBrk="0" hangingPunct="1"/>
            <a:r>
              <a:rPr lang="es-ES"/>
              <a:t>Haga clic para modificar el estilo de texto del patrón</a:t>
            </a:r>
          </a:p>
        </p:txBody>
      </p:sp>
      <p:sp>
        <p:nvSpPr>
          <p:cNvPr id="37" name="5 Marcador de número de diapositiva">
            <a:extLst>
              <a:ext uri="{FF2B5EF4-FFF2-40B4-BE49-F238E27FC236}">
                <a16:creationId xmlns:a16="http://schemas.microsoft.com/office/drawing/2014/main" id="{81BE43DE-1E47-49C8-B19E-3DF6219A96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95953" y="6492875"/>
            <a:ext cx="3081867" cy="365125"/>
          </a:xfrm>
          <a:prstGeom prst="rect">
            <a:avLst/>
          </a:prstGeom>
        </p:spPr>
        <p:txBody>
          <a:bodyPr/>
          <a:lstStyle>
            <a:lvl1pPr algn="r">
              <a:defRPr sz="1100" b="1">
                <a:latin typeface="+mn-lt"/>
                <a:cs typeface="Arial" panose="020B0604020202020204" pitchFamily="34" charset="0"/>
              </a:defRPr>
            </a:lvl1pPr>
          </a:lstStyle>
          <a:p>
            <a:fld id="{F72BFCD6-C37F-4D4F-B6AD-71D3A36D527F}" type="slidenum">
              <a:rPr lang="es-ES" smtClean="0"/>
              <a:pPr/>
              <a:t>‹Nº›</a:t>
            </a:fld>
            <a:endParaRPr lang="es-ES"/>
          </a:p>
        </p:txBody>
      </p:sp>
      <p:pic>
        <p:nvPicPr>
          <p:cNvPr id="10" name="Picture 13">
            <a:extLst>
              <a:ext uri="{FF2B5EF4-FFF2-40B4-BE49-F238E27FC236}">
                <a16:creationId xmlns:a16="http://schemas.microsoft.com/office/drawing/2014/main" id="{D5DB1973-D449-BEA8-1A9C-CAFCA55F555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958821" y="658178"/>
            <a:ext cx="2353260" cy="6236749"/>
          </a:xfrm>
          <a:prstGeom prst="rect">
            <a:avLst/>
          </a:prstGeom>
        </p:spPr>
      </p:pic>
      <p:sp>
        <p:nvSpPr>
          <p:cNvPr id="11" name="Rectangle 15">
            <a:extLst>
              <a:ext uri="{FF2B5EF4-FFF2-40B4-BE49-F238E27FC236}">
                <a16:creationId xmlns:a16="http://schemas.microsoft.com/office/drawing/2014/main" id="{516A5F25-8A66-662F-F980-D389360A35F5}"/>
              </a:ext>
            </a:extLst>
          </p:cNvPr>
          <p:cNvSpPr/>
          <p:nvPr userDrawn="1"/>
        </p:nvSpPr>
        <p:spPr>
          <a:xfrm>
            <a:off x="531414" y="0"/>
            <a:ext cx="11660586" cy="503810"/>
          </a:xfrm>
          <a:prstGeom prst="rect">
            <a:avLst/>
          </a:prstGeom>
          <a:gradFill flip="none" rotWithShape="1">
            <a:gsLst>
              <a:gs pos="0">
                <a:srgbClr val="12325C"/>
              </a:gs>
              <a:gs pos="100000">
                <a:srgbClr val="137ADB">
                  <a:alpha val="89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3" name="Oval 3">
            <a:extLst>
              <a:ext uri="{FF2B5EF4-FFF2-40B4-BE49-F238E27FC236}">
                <a16:creationId xmlns:a16="http://schemas.microsoft.com/office/drawing/2014/main" id="{B0ED8A9B-1F73-5664-2928-D6213A137393}"/>
              </a:ext>
            </a:extLst>
          </p:cNvPr>
          <p:cNvSpPr/>
          <p:nvPr userDrawn="1"/>
        </p:nvSpPr>
        <p:spPr>
          <a:xfrm>
            <a:off x="11424592" y="-387424"/>
            <a:ext cx="1584176" cy="1584176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4" name="Picture 4">
            <a:extLst>
              <a:ext uri="{FF2B5EF4-FFF2-40B4-BE49-F238E27FC236}">
                <a16:creationId xmlns:a16="http://schemas.microsoft.com/office/drawing/2014/main" id="{E6BE0216-F4A8-9064-02D6-8BC8E8AB96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2350" t="14254"/>
          <a:stretch/>
        </p:blipFill>
        <p:spPr>
          <a:xfrm>
            <a:off x="0" y="-3028"/>
            <a:ext cx="710094" cy="784124"/>
          </a:xfrm>
          <a:prstGeom prst="rect">
            <a:avLst/>
          </a:prstGeom>
        </p:spPr>
      </p:pic>
      <p:pic>
        <p:nvPicPr>
          <p:cNvPr id="2" name="Picture 7">
            <a:extLst>
              <a:ext uri="{FF2B5EF4-FFF2-40B4-BE49-F238E27FC236}">
                <a16:creationId xmlns:a16="http://schemas.microsoft.com/office/drawing/2014/main" id="{2A34036B-DC98-B2F8-ECBE-74A7D61458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8549" t="3920" b="-1"/>
          <a:stretch/>
        </p:blipFill>
        <p:spPr>
          <a:xfrm>
            <a:off x="9149300" y="145019"/>
            <a:ext cx="1235965" cy="308368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0C448490-13BF-7415-0821-67BCFB26072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415915" y="145019"/>
            <a:ext cx="451082" cy="300721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391A92EB-A5A4-163F-4CD2-77D9314ABE14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897647" y="145019"/>
            <a:ext cx="451257" cy="300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9439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Í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4E62079-D18D-4018-A12B-BDD165DE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949700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4E62079-D18D-4018-A12B-BDD165DE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descr="Etiqueta TLP de seguridad: GREEN">
            <a:extLst>
              <a:ext uri="{FF2B5EF4-FFF2-40B4-BE49-F238E27FC236}">
                <a16:creationId xmlns:a16="http://schemas.microsoft.com/office/drawing/2014/main" id="{8798BAA0-CD5F-4025-C6AD-98B8BD2716AF}"/>
              </a:ext>
            </a:extLst>
          </p:cNvPr>
          <p:cNvSpPr/>
          <p:nvPr userDrawn="1"/>
        </p:nvSpPr>
        <p:spPr>
          <a:xfrm>
            <a:off x="986114" y="6499601"/>
            <a:ext cx="1199456" cy="15369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4" name="CuadroTexto 3" descr="Etiqueta TLP de seguridad: GREEN">
            <a:extLst>
              <a:ext uri="{FF2B5EF4-FFF2-40B4-BE49-F238E27FC236}">
                <a16:creationId xmlns:a16="http://schemas.microsoft.com/office/drawing/2014/main" id="{ED3FFA3B-E6D9-7150-6185-079AB8A78704}"/>
              </a:ext>
            </a:extLst>
          </p:cNvPr>
          <p:cNvSpPr txBox="1"/>
          <p:nvPr userDrawn="1"/>
        </p:nvSpPr>
        <p:spPr>
          <a:xfrm>
            <a:off x="986113" y="6453336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>
                <a:solidFill>
                  <a:schemeClr val="bg1"/>
                </a:solidFill>
              </a:rPr>
              <a:t>TLP: GREEN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CAF0A7FD-A277-B6DF-B72D-56EC9E977A51}"/>
              </a:ext>
            </a:extLst>
          </p:cNvPr>
          <p:cNvSpPr txBox="1"/>
          <p:nvPr userDrawn="1"/>
        </p:nvSpPr>
        <p:spPr>
          <a:xfrm>
            <a:off x="165087" y="6455996"/>
            <a:ext cx="100712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000" b="0">
                <a:solidFill>
                  <a:schemeClr val="tx1">
                    <a:lumMod val="75000"/>
                  </a:schemeClr>
                </a:solidFill>
              </a:rPr>
              <a:t>USO OFICIAL</a:t>
            </a:r>
          </a:p>
        </p:txBody>
      </p:sp>
      <p:sp>
        <p:nvSpPr>
          <p:cNvPr id="7" name="Oval 8">
            <a:extLst>
              <a:ext uri="{FF2B5EF4-FFF2-40B4-BE49-F238E27FC236}">
                <a16:creationId xmlns:a16="http://schemas.microsoft.com/office/drawing/2014/main" id="{47EFA3F8-8F4E-6302-F729-2A6437E804A9}"/>
              </a:ext>
            </a:extLst>
          </p:cNvPr>
          <p:cNvSpPr/>
          <p:nvPr userDrawn="1"/>
        </p:nvSpPr>
        <p:spPr>
          <a:xfrm>
            <a:off x="5830807" y="1154124"/>
            <a:ext cx="2461583" cy="2461583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Oval 8">
            <a:extLst>
              <a:ext uri="{FF2B5EF4-FFF2-40B4-BE49-F238E27FC236}">
                <a16:creationId xmlns:a16="http://schemas.microsoft.com/office/drawing/2014/main" id="{57DD8B22-F4BA-DD39-37A9-8284263937AC}"/>
              </a:ext>
            </a:extLst>
          </p:cNvPr>
          <p:cNvSpPr/>
          <p:nvPr userDrawn="1"/>
        </p:nvSpPr>
        <p:spPr>
          <a:xfrm>
            <a:off x="7002967" y="4416324"/>
            <a:ext cx="1512168" cy="151216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2734CE5-88E6-A31A-C383-ADE53B2F2AFC}"/>
              </a:ext>
            </a:extLst>
          </p:cNvPr>
          <p:cNvSpPr/>
          <p:nvPr userDrawn="1"/>
        </p:nvSpPr>
        <p:spPr>
          <a:xfrm>
            <a:off x="-25698" y="0"/>
            <a:ext cx="12217698" cy="503810"/>
          </a:xfrm>
          <a:prstGeom prst="rect">
            <a:avLst/>
          </a:prstGeom>
          <a:gradFill flip="none" rotWithShape="1">
            <a:gsLst>
              <a:gs pos="0">
                <a:srgbClr val="12325C"/>
              </a:gs>
              <a:gs pos="100000">
                <a:srgbClr val="137ADB">
                  <a:alpha val="89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id="{5E58127F-0CDA-F3E7-BB40-3949006087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6590" y="-310260"/>
            <a:ext cx="8865122" cy="1143000"/>
          </a:xfrm>
        </p:spPr>
        <p:txBody>
          <a:bodyPr>
            <a:norm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s-ES"/>
              <a:t>Ruegos y Preguntas</a:t>
            </a:r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3F54658B-D688-F03C-CF7D-EB7AE9E1DE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935760" y="1485844"/>
            <a:ext cx="4214462" cy="413367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Oval 8">
            <a:extLst>
              <a:ext uri="{FF2B5EF4-FFF2-40B4-BE49-F238E27FC236}">
                <a16:creationId xmlns:a16="http://schemas.microsoft.com/office/drawing/2014/main" id="{1D768138-B18E-A00C-725E-D8711186A02C}"/>
              </a:ext>
            </a:extLst>
          </p:cNvPr>
          <p:cNvSpPr/>
          <p:nvPr userDrawn="1"/>
        </p:nvSpPr>
        <p:spPr>
          <a:xfrm>
            <a:off x="3606706" y="3039639"/>
            <a:ext cx="854007" cy="85400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6" name="Picture 7">
            <a:extLst>
              <a:ext uri="{FF2B5EF4-FFF2-40B4-BE49-F238E27FC236}">
                <a16:creationId xmlns:a16="http://schemas.microsoft.com/office/drawing/2014/main" id="{A2FB2512-5A49-B571-6311-18EC0F2157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8549" t="3920" b="-1"/>
          <a:stretch/>
        </p:blipFill>
        <p:spPr>
          <a:xfrm>
            <a:off x="9856662" y="145019"/>
            <a:ext cx="1235965" cy="308368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51DE9A57-09E6-64E4-C26C-FF8A1E08CD9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1123277" y="145019"/>
            <a:ext cx="451082" cy="300721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6853CA26-60E5-9D8E-9724-2922E1BEB26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1605009" y="145019"/>
            <a:ext cx="451257" cy="300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6914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F5E6567F-0C9E-42E7-BABA-57C9D2BA5D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929560417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4" imgW="395" imgH="394" progId="TCLayout.ActiveDocument.1">
                  <p:embed/>
                </p:oleObj>
              </mc:Choice>
              <mc:Fallback>
                <p:oleObj name="Diapositiva de think-cell" r:id="rId14" imgW="395" imgH="394" progId="TCLayout.ActiveDocument.1">
                  <p:embed/>
                  <p:pic>
                    <p:nvPicPr>
                      <p:cNvPr id="10" name="Objeto 9" hidden="1">
                        <a:extLst>
                          <a:ext uri="{FF2B5EF4-FFF2-40B4-BE49-F238E27FC236}">
                            <a16:creationId xmlns:a16="http://schemas.microsoft.com/office/drawing/2014/main" id="{F5E6567F-0C9E-42E7-BABA-57C9D2BA5D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 hidden="1">
            <a:extLst>
              <a:ext uri="{FF2B5EF4-FFF2-40B4-BE49-F238E27FC236}">
                <a16:creationId xmlns:a16="http://schemas.microsoft.com/office/drawing/2014/main" id="{0B5F7854-A00E-4016-B4D9-6304EBD6AAC5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3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609600" y="635636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4165600" y="635636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37600" y="635636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2BFCD6-C37F-4D4F-B6AD-71D3A36D527F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26860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26" r:id="rId2"/>
    <p:sldLayoutId id="2147483724" r:id="rId3"/>
    <p:sldLayoutId id="2147483712" r:id="rId4"/>
    <p:sldLayoutId id="2147483735" r:id="rId5"/>
    <p:sldLayoutId id="2147483727" r:id="rId6"/>
    <p:sldLayoutId id="2147483728" r:id="rId7"/>
    <p:sldLayoutId id="2147483721" r:id="rId8"/>
    <p:sldLayoutId id="2147483725" r:id="rId9"/>
    <p:sldLayoutId id="2147483734" r:id="rId10"/>
  </p:sldLayoutIdLst>
  <p:hf hdr="0" ftr="0" dt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1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17.png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0.svg"/><Relationship Id="rId4" Type="http://schemas.openxmlformats.org/officeDocument/2006/relationships/image" Target="../media/image12.png"/><Relationship Id="rId9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22.jpeg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6" Type="http://schemas.openxmlformats.org/officeDocument/2006/relationships/image" Target="../media/image1.emf"/><Relationship Id="rId11" Type="http://schemas.openxmlformats.org/officeDocument/2006/relationships/image" Target="../media/image26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5.emf"/><Relationship Id="rId4" Type="http://schemas.openxmlformats.org/officeDocument/2006/relationships/image" Target="../media/image12.png"/><Relationship Id="rId9" Type="http://schemas.openxmlformats.org/officeDocument/2006/relationships/image" Target="../media/image24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6" Type="http://schemas.openxmlformats.org/officeDocument/2006/relationships/image" Target="../media/image28.png"/><Relationship Id="rId5" Type="http://schemas.openxmlformats.org/officeDocument/2006/relationships/image" Target="../media/image27.jpe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9.jpeg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0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2.png"/><Relationship Id="rId10" Type="http://schemas.openxmlformats.org/officeDocument/2006/relationships/image" Target="../media/image33.png"/><Relationship Id="rId4" Type="http://schemas.openxmlformats.org/officeDocument/2006/relationships/image" Target="../media/image30.jpeg"/><Relationship Id="rId9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1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3.png"/><Relationship Id="rId5" Type="http://schemas.openxmlformats.org/officeDocument/2006/relationships/image" Target="../media/image12.png"/><Relationship Id="rId10" Type="http://schemas.openxmlformats.org/officeDocument/2006/relationships/image" Target="../media/image8.png"/><Relationship Id="rId4" Type="http://schemas.openxmlformats.org/officeDocument/2006/relationships/image" Target="../media/image34.jpeg"/><Relationship Id="rId9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22F8C3C2-0521-4B47-99EF-B9F98F4584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22F8C3C2-0521-4B47-99EF-B9F98F4584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19">
            <a:extLst>
              <a:ext uri="{FF2B5EF4-FFF2-40B4-BE49-F238E27FC236}">
                <a16:creationId xmlns:a16="http://schemas.microsoft.com/office/drawing/2014/main" id="{24CEEDE2-AC52-456E-665A-177A48B3AF3A}"/>
              </a:ext>
            </a:extLst>
          </p:cNvPr>
          <p:cNvSpPr txBox="1">
            <a:spLocks/>
          </p:cNvSpPr>
          <p:nvPr/>
        </p:nvSpPr>
        <p:spPr>
          <a:xfrm>
            <a:off x="173184" y="2935839"/>
            <a:ext cx="2527154" cy="57670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57175" indent="-257175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i="1" dirty="0">
                <a:solidFill>
                  <a:schemeClr val="bg1"/>
                </a:solidFill>
              </a:rPr>
              <a:t>Crystal Scales of Justice Prize awarding ceremony</a:t>
            </a:r>
          </a:p>
          <a:p>
            <a:pPr marL="0" indent="0">
              <a:buNone/>
            </a:pPr>
            <a:r>
              <a:rPr lang="en-US" sz="1800" i="1" dirty="0">
                <a:solidFill>
                  <a:schemeClr val="bg1"/>
                </a:solidFill>
              </a:rPr>
              <a:t>(Nicosia, Cyprus)</a:t>
            </a:r>
            <a:endParaRPr lang="es-ES" sz="18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s-ES" sz="2000" dirty="0">
              <a:solidFill>
                <a:schemeClr val="bg1"/>
              </a:solidFill>
              <a:cs typeface="Calibri"/>
            </a:endParaRPr>
          </a:p>
        </p:txBody>
      </p:sp>
      <p:sp>
        <p:nvSpPr>
          <p:cNvPr id="10" name="TextBox 20">
            <a:extLst>
              <a:ext uri="{FF2B5EF4-FFF2-40B4-BE49-F238E27FC236}">
                <a16:creationId xmlns:a16="http://schemas.microsoft.com/office/drawing/2014/main" id="{C36D4FD4-214D-70B1-3B6E-11241C31A2A0}"/>
              </a:ext>
            </a:extLst>
          </p:cNvPr>
          <p:cNvSpPr txBox="1"/>
          <p:nvPr/>
        </p:nvSpPr>
        <p:spPr>
          <a:xfrm>
            <a:off x="191658" y="1690136"/>
            <a:ext cx="5166151" cy="10772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3200" b="1" dirty="0" err="1">
                <a:solidFill>
                  <a:schemeClr val="bg1"/>
                </a:solidFill>
                <a:latin typeface="Calibri"/>
                <a:cs typeface="Calibri"/>
              </a:rPr>
              <a:t>Hyperautomation</a:t>
            </a:r>
            <a:r>
              <a:rPr lang="en-US" sz="3200" b="1" dirty="0">
                <a:solidFill>
                  <a:schemeClr val="bg1"/>
                </a:solidFill>
                <a:latin typeface="Calibri"/>
                <a:cs typeface="Calibri"/>
              </a:rPr>
              <a:t> of the order for payment procedure</a:t>
            </a:r>
            <a:endParaRPr lang="es-ES" sz="3200" b="1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11" name="Text Placeholder 19">
            <a:extLst>
              <a:ext uri="{FF2B5EF4-FFF2-40B4-BE49-F238E27FC236}">
                <a16:creationId xmlns:a16="http://schemas.microsoft.com/office/drawing/2014/main" id="{9515264F-6B4F-CBE4-F20F-F82821737364}"/>
              </a:ext>
            </a:extLst>
          </p:cNvPr>
          <p:cNvSpPr txBox="1">
            <a:spLocks/>
          </p:cNvSpPr>
          <p:nvPr/>
        </p:nvSpPr>
        <p:spPr>
          <a:xfrm>
            <a:off x="191658" y="4319934"/>
            <a:ext cx="4716567" cy="463821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57175" indent="-257175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1400" dirty="0">
                <a:solidFill>
                  <a:schemeClr val="bg1"/>
                </a:solidFill>
              </a:rPr>
              <a:t>9 October 2025</a:t>
            </a:r>
            <a:endParaRPr lang="es-ES" sz="2800" dirty="0">
              <a:solidFill>
                <a:schemeClr val="bg1"/>
              </a:solidFill>
            </a:endParaRPr>
          </a:p>
        </p:txBody>
      </p:sp>
      <p:sp>
        <p:nvSpPr>
          <p:cNvPr id="2" name="Marcador de texto 18">
            <a:extLst>
              <a:ext uri="{FF2B5EF4-FFF2-40B4-BE49-F238E27FC236}">
                <a16:creationId xmlns:a16="http://schemas.microsoft.com/office/drawing/2014/main" id="{300BE3AE-E356-44CF-F56A-174C07E5F5E4}"/>
              </a:ext>
            </a:extLst>
          </p:cNvPr>
          <p:cNvSpPr txBox="1">
            <a:spLocks/>
          </p:cNvSpPr>
          <p:nvPr/>
        </p:nvSpPr>
        <p:spPr>
          <a:xfrm>
            <a:off x="40622" y="4038561"/>
            <a:ext cx="6183706" cy="116638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57175" indent="-257175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s-ES" sz="3600">
              <a:solidFill>
                <a:schemeClr val="bg1"/>
              </a:solidFill>
              <a:latin typeface="Calibri"/>
              <a:cs typeface="Calibri"/>
            </a:endParaRPr>
          </a:p>
        </p:txBody>
      </p:sp>
      <p:pic>
        <p:nvPicPr>
          <p:cNvPr id="1026" name="Picture 2" descr="Council of Europe – AEGEE-Europe">
            <a:extLst>
              <a:ext uri="{FF2B5EF4-FFF2-40B4-BE49-F238E27FC236}">
                <a16:creationId xmlns:a16="http://schemas.microsoft.com/office/drawing/2014/main" id="{27C350AF-B4C2-784F-B446-C051BAE127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55" b="13207"/>
          <a:stretch/>
        </p:blipFill>
        <p:spPr bwMode="auto">
          <a:xfrm>
            <a:off x="2004423" y="5007608"/>
            <a:ext cx="1191797" cy="900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694FE1EC-18E3-3AB3-C5C2-B94141B77B6A}"/>
              </a:ext>
            </a:extLst>
          </p:cNvPr>
          <p:cNvSpPr txBox="1"/>
          <p:nvPr/>
        </p:nvSpPr>
        <p:spPr>
          <a:xfrm>
            <a:off x="2237882" y="4638276"/>
            <a:ext cx="7248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b="1" i="1" dirty="0"/>
              <a:t>CEPEJ</a:t>
            </a:r>
          </a:p>
        </p:txBody>
      </p:sp>
    </p:spTree>
    <p:extLst>
      <p:ext uri="{BB962C8B-B14F-4D97-AF65-F5344CB8AC3E}">
        <p14:creationId xmlns:p14="http://schemas.microsoft.com/office/powerpoint/2010/main" val="4294821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Imagen 31">
            <a:extLst>
              <a:ext uri="{FF2B5EF4-FFF2-40B4-BE49-F238E27FC236}">
                <a16:creationId xmlns:a16="http://schemas.microsoft.com/office/drawing/2014/main" id="{FCBAB40D-562E-1AC8-9BD6-F5C0BCF8ABE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9885" t="37981" r="37857" b="58214"/>
          <a:stretch>
            <a:fillRect/>
          </a:stretch>
        </p:blipFill>
        <p:spPr>
          <a:xfrm>
            <a:off x="-1" y="503810"/>
            <a:ext cx="12192001" cy="844788"/>
          </a:xfrm>
          <a:prstGeom prst="rect">
            <a:avLst/>
          </a:prstGeom>
        </p:spPr>
      </p:pic>
      <p:grpSp>
        <p:nvGrpSpPr>
          <p:cNvPr id="28" name="Grupo 27">
            <a:extLst>
              <a:ext uri="{FF2B5EF4-FFF2-40B4-BE49-F238E27FC236}">
                <a16:creationId xmlns:a16="http://schemas.microsoft.com/office/drawing/2014/main" id="{22D5FEF0-09B3-C6D6-3BDA-23BC360FF826}"/>
              </a:ext>
            </a:extLst>
          </p:cNvPr>
          <p:cNvGrpSpPr/>
          <p:nvPr/>
        </p:nvGrpSpPr>
        <p:grpSpPr>
          <a:xfrm>
            <a:off x="-2" y="1196752"/>
            <a:ext cx="12192002" cy="5686150"/>
            <a:chOff x="1057469" y="2215146"/>
            <a:chExt cx="8413263" cy="4066095"/>
          </a:xfrm>
        </p:grpSpPr>
        <p:grpSp>
          <p:nvGrpSpPr>
            <p:cNvPr id="25" name="Grupo 24">
              <a:extLst>
                <a:ext uri="{FF2B5EF4-FFF2-40B4-BE49-F238E27FC236}">
                  <a16:creationId xmlns:a16="http://schemas.microsoft.com/office/drawing/2014/main" id="{64464023-E465-133C-107C-D84395D73592}"/>
                </a:ext>
              </a:extLst>
            </p:cNvPr>
            <p:cNvGrpSpPr/>
            <p:nvPr/>
          </p:nvGrpSpPr>
          <p:grpSpPr>
            <a:xfrm>
              <a:off x="1057469" y="2297408"/>
              <a:ext cx="6895472" cy="3966027"/>
              <a:chOff x="1057469" y="2297408"/>
              <a:chExt cx="6895472" cy="3966027"/>
            </a:xfrm>
          </p:grpSpPr>
          <p:pic>
            <p:nvPicPr>
              <p:cNvPr id="17" name="Imagen 16">
                <a:extLst>
                  <a:ext uri="{FF2B5EF4-FFF2-40B4-BE49-F238E27FC236}">
                    <a16:creationId xmlns:a16="http://schemas.microsoft.com/office/drawing/2014/main" id="{79E713BE-42F9-A6AC-B6CD-EA08EBA28F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 l="39885" t="37981" r="37857" b="30660"/>
              <a:stretch>
                <a:fillRect/>
              </a:stretch>
            </p:blipFill>
            <p:spPr>
              <a:xfrm>
                <a:off x="2971072" y="2315214"/>
                <a:ext cx="4981869" cy="3948221"/>
              </a:xfrm>
              <a:prstGeom prst="rect">
                <a:avLst/>
              </a:prstGeom>
            </p:spPr>
          </p:pic>
          <p:pic>
            <p:nvPicPr>
              <p:cNvPr id="24" name="Imagen 23">
                <a:extLst>
                  <a:ext uri="{FF2B5EF4-FFF2-40B4-BE49-F238E27FC236}">
                    <a16:creationId xmlns:a16="http://schemas.microsoft.com/office/drawing/2014/main" id="{98882FAB-E841-12FD-FDE3-147BC7BF56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 l="40565" t="37981" r="58283" b="30519"/>
              <a:stretch>
                <a:fillRect/>
              </a:stretch>
            </p:blipFill>
            <p:spPr>
              <a:xfrm>
                <a:off x="1057469" y="2297408"/>
                <a:ext cx="1913604" cy="3966026"/>
              </a:xfrm>
              <a:prstGeom prst="rect">
                <a:avLst/>
              </a:prstGeom>
            </p:spPr>
          </p:pic>
        </p:grpSp>
        <p:pic>
          <p:nvPicPr>
            <p:cNvPr id="27" name="Imagen 26">
              <a:extLst>
                <a:ext uri="{FF2B5EF4-FFF2-40B4-BE49-F238E27FC236}">
                  <a16:creationId xmlns:a16="http://schemas.microsoft.com/office/drawing/2014/main" id="{FAD9B95D-7810-BCB9-8B56-1D041029921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59213" t="37981" r="39767" b="30805"/>
            <a:stretch>
              <a:fillRect/>
            </a:stretch>
          </p:blipFill>
          <p:spPr>
            <a:xfrm>
              <a:off x="7932184" y="2215146"/>
              <a:ext cx="1538548" cy="4066095"/>
            </a:xfrm>
            <a:prstGeom prst="rect">
              <a:avLst/>
            </a:prstGeom>
          </p:spPr>
        </p:pic>
      </p:grpSp>
      <p:sp>
        <p:nvSpPr>
          <p:cNvPr id="10" name="Rectangle 15">
            <a:extLst>
              <a:ext uri="{FF2B5EF4-FFF2-40B4-BE49-F238E27FC236}">
                <a16:creationId xmlns:a16="http://schemas.microsoft.com/office/drawing/2014/main" id="{37155FF9-ABEF-8EA8-652E-FA2E740BC94E}"/>
              </a:ext>
            </a:extLst>
          </p:cNvPr>
          <p:cNvSpPr/>
          <p:nvPr/>
        </p:nvSpPr>
        <p:spPr>
          <a:xfrm>
            <a:off x="531414" y="0"/>
            <a:ext cx="8242093" cy="503810"/>
          </a:xfrm>
          <a:prstGeom prst="rect">
            <a:avLst/>
          </a:prstGeom>
          <a:gradFill flip="none" rotWithShape="1">
            <a:gsLst>
              <a:gs pos="0">
                <a:srgbClr val="12325C"/>
              </a:gs>
              <a:gs pos="100000">
                <a:srgbClr val="137ADB">
                  <a:alpha val="89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Oval 3">
            <a:extLst>
              <a:ext uri="{FF2B5EF4-FFF2-40B4-BE49-F238E27FC236}">
                <a16:creationId xmlns:a16="http://schemas.microsoft.com/office/drawing/2014/main" id="{DFFAFAED-7F05-376B-C262-7598C3DEB3D4}"/>
              </a:ext>
            </a:extLst>
          </p:cNvPr>
          <p:cNvSpPr/>
          <p:nvPr/>
        </p:nvSpPr>
        <p:spPr>
          <a:xfrm>
            <a:off x="11424592" y="-387424"/>
            <a:ext cx="1584176" cy="1584176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id="{0E78FA30-8498-0900-527D-C7AD2D2944B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2350" t="14254"/>
          <a:stretch/>
        </p:blipFill>
        <p:spPr>
          <a:xfrm>
            <a:off x="0" y="-3028"/>
            <a:ext cx="710094" cy="784124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97E804A0-A9B6-4392-AE1C-7179CCBC7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95" imgH="394" progId="TCLayout.ActiveDocument.1">
                  <p:embed/>
                </p:oleObj>
              </mc:Choice>
              <mc:Fallback>
                <p:oleObj name="Diapositiva de think-cell" r:id="rId5" imgW="395" imgH="394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97E804A0-A9B6-4392-AE1C-7179CCBC7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009470C8-53AF-100A-8598-6CC9C2B2B02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361738" y="6381750"/>
            <a:ext cx="830262" cy="355600"/>
          </a:xfrm>
        </p:spPr>
        <p:txBody>
          <a:bodyPr/>
          <a:lstStyle/>
          <a:p>
            <a:fld id="{F72BFCD6-C37F-4D4F-B6AD-71D3A36D527F}" type="slidenum">
              <a:rPr lang="es-ES" b="1" smtClean="0">
                <a:solidFill>
                  <a:schemeClr val="tx2"/>
                </a:solidFill>
                <a:latin typeface="+mn-lt"/>
              </a:rPr>
              <a:pPr/>
              <a:t>2</a:t>
            </a:fld>
            <a:endParaRPr lang="es-ES" b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9" name="Title 57">
            <a:extLst>
              <a:ext uri="{FF2B5EF4-FFF2-40B4-BE49-F238E27FC236}">
                <a16:creationId xmlns:a16="http://schemas.microsoft.com/office/drawing/2014/main" id="{C506CB58-BCE2-9B55-4C01-BF0E472365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515" y="-83862"/>
            <a:ext cx="7067601" cy="620688"/>
          </a:xfrm>
        </p:spPr>
        <p:txBody>
          <a:bodyPr>
            <a:normAutofit/>
          </a:bodyPr>
          <a:lstStyle/>
          <a:p>
            <a:r>
              <a:rPr lang="es-ES" sz="2800">
                <a:solidFill>
                  <a:schemeClr val="accent5">
                    <a:lumMod val="50000"/>
                  </a:schemeClr>
                </a:solidFill>
              </a:rPr>
              <a:t>01  </a:t>
            </a:r>
            <a:r>
              <a:rPr lang="en-US" sz="2800">
                <a:solidFill>
                  <a:schemeClr val="accent5">
                    <a:lumMod val="50000"/>
                  </a:schemeClr>
                </a:solidFill>
              </a:rPr>
              <a:t>  </a:t>
            </a:r>
            <a:r>
              <a:rPr lang="en-US" sz="2800"/>
              <a:t>The scene</a:t>
            </a:r>
            <a:endParaRPr lang="es-ES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D86EADF8-684A-19D9-C2C1-DE06235B1850}"/>
              </a:ext>
            </a:extLst>
          </p:cNvPr>
          <p:cNvSpPr txBox="1"/>
          <p:nvPr/>
        </p:nvSpPr>
        <p:spPr>
          <a:xfrm>
            <a:off x="8891933" y="4352522"/>
            <a:ext cx="309947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tx2"/>
                </a:solidFill>
                <a:highlight>
                  <a:srgbClr val="DADEE3"/>
                </a:highlight>
              </a:rPr>
              <a:t>Data orientation </a:t>
            </a:r>
            <a:r>
              <a:rPr lang="en-US">
                <a:solidFill>
                  <a:schemeClr val="tx2"/>
                </a:solidFill>
                <a:highlight>
                  <a:srgbClr val="DADEE3"/>
                </a:highlight>
              </a:rPr>
              <a:t>allows for </a:t>
            </a:r>
            <a:r>
              <a:rPr lang="en-US" b="1">
                <a:solidFill>
                  <a:schemeClr val="tx2"/>
                </a:solidFill>
                <a:highlight>
                  <a:srgbClr val="DADEE3"/>
                </a:highlight>
              </a:rPr>
              <a:t>more efficiency and better decision making</a:t>
            </a:r>
            <a:endParaRPr lang="es-ES" sz="1600"/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D4E385E7-4352-DDF0-1BB0-A001C6CE6C6E}"/>
              </a:ext>
            </a:extLst>
          </p:cNvPr>
          <p:cNvSpPr txBox="1"/>
          <p:nvPr/>
        </p:nvSpPr>
        <p:spPr>
          <a:xfrm>
            <a:off x="200590" y="4467093"/>
            <a:ext cx="3789785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b="1" dirty="0">
                <a:solidFill>
                  <a:schemeClr val="tx2"/>
                </a:solidFill>
                <a:highlight>
                  <a:srgbClr val="DADEE3"/>
                </a:highlight>
              </a:rPr>
              <a:t>High workload in the courts</a:t>
            </a:r>
          </a:p>
          <a:p>
            <a:pPr algn="r"/>
            <a:r>
              <a:rPr lang="en-US" sz="1600" dirty="0"/>
              <a:t>e.g. </a:t>
            </a:r>
            <a:r>
              <a:rPr lang="en-US" sz="1600" b="1" dirty="0"/>
              <a:t>order for payment procedures</a:t>
            </a:r>
          </a:p>
          <a:p>
            <a:pPr algn="r"/>
            <a:r>
              <a:rPr lang="en-US" sz="1600" dirty="0"/>
              <a:t>account for </a:t>
            </a:r>
            <a:r>
              <a:rPr lang="en-US" sz="1600" b="1" dirty="0"/>
              <a:t>up to 60% of civil cases</a:t>
            </a:r>
            <a:endParaRPr lang="en-US" sz="1600" dirty="0"/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7A287A59-7287-E27A-ECBD-59E749F86C21}"/>
              </a:ext>
            </a:extLst>
          </p:cNvPr>
          <p:cNvSpPr txBox="1"/>
          <p:nvPr/>
        </p:nvSpPr>
        <p:spPr>
          <a:xfrm>
            <a:off x="1506654" y="2398913"/>
            <a:ext cx="257291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b="1" dirty="0">
                <a:solidFill>
                  <a:schemeClr val="tx2"/>
                </a:solidFill>
                <a:highlight>
                  <a:srgbClr val="DADEE3"/>
                </a:highlight>
              </a:rPr>
              <a:t>Mechanical, simple tasks </a:t>
            </a:r>
            <a:r>
              <a:rPr lang="en-US" dirty="0">
                <a:solidFill>
                  <a:schemeClr val="tx2"/>
                </a:solidFill>
                <a:highlight>
                  <a:srgbClr val="DADEE3"/>
                </a:highlight>
              </a:rPr>
              <a:t>can be </a:t>
            </a:r>
            <a:r>
              <a:rPr lang="en-US" b="1" dirty="0">
                <a:solidFill>
                  <a:schemeClr val="tx2"/>
                </a:solidFill>
                <a:highlight>
                  <a:srgbClr val="DADEE3"/>
                </a:highlight>
              </a:rPr>
              <a:t>automated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AF38E1B7-16A4-91B2-0AD5-0F550C61A115}"/>
              </a:ext>
            </a:extLst>
          </p:cNvPr>
          <p:cNvSpPr txBox="1"/>
          <p:nvPr/>
        </p:nvSpPr>
        <p:spPr>
          <a:xfrm>
            <a:off x="4079569" y="1268153"/>
            <a:ext cx="414121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  <a:highlight>
                  <a:srgbClr val="DADEE3"/>
                </a:highlight>
              </a:rPr>
              <a:t>Slow processing </a:t>
            </a:r>
            <a:r>
              <a:rPr lang="en-US" dirty="0">
                <a:solidFill>
                  <a:schemeClr val="tx2"/>
                </a:solidFill>
                <a:highlight>
                  <a:srgbClr val="DADEE3"/>
                </a:highlight>
              </a:rPr>
              <a:t>means</a:t>
            </a:r>
          </a:p>
          <a:p>
            <a:pPr algn="ctr"/>
            <a:r>
              <a:rPr lang="en-US" b="1" dirty="0">
                <a:solidFill>
                  <a:schemeClr val="tx2"/>
                </a:solidFill>
                <a:highlight>
                  <a:srgbClr val="DADEE3"/>
                </a:highlight>
              </a:rPr>
              <a:t>slow public justice service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79B489C1-7EDA-0C90-F77F-2296BEE22760}"/>
              </a:ext>
            </a:extLst>
          </p:cNvPr>
          <p:cNvSpPr txBox="1"/>
          <p:nvPr/>
        </p:nvSpPr>
        <p:spPr>
          <a:xfrm>
            <a:off x="8432314" y="2124042"/>
            <a:ext cx="321921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2"/>
                </a:solidFill>
                <a:highlight>
                  <a:srgbClr val="DADEE3"/>
                </a:highlight>
              </a:rPr>
              <a:t>Judicial staff </a:t>
            </a:r>
            <a:r>
              <a:rPr lang="en-US" dirty="0">
                <a:solidFill>
                  <a:schemeClr val="tx2"/>
                </a:solidFill>
                <a:highlight>
                  <a:srgbClr val="DADEE3"/>
                </a:highlight>
              </a:rPr>
              <a:t>should be focused on </a:t>
            </a:r>
            <a:r>
              <a:rPr lang="en-US" b="1" dirty="0">
                <a:solidFill>
                  <a:schemeClr val="tx2"/>
                </a:solidFill>
                <a:highlight>
                  <a:srgbClr val="DADEE3"/>
                </a:highlight>
              </a:rPr>
              <a:t>higher value-added tasks</a:t>
            </a:r>
            <a:endParaRPr lang="en-US" sz="1600" dirty="0"/>
          </a:p>
        </p:txBody>
      </p:sp>
      <p:pic>
        <p:nvPicPr>
          <p:cNvPr id="35" name="Picture 76">
            <a:extLst>
              <a:ext uri="{FF2B5EF4-FFF2-40B4-BE49-F238E27FC236}">
                <a16:creationId xmlns:a16="http://schemas.microsoft.com/office/drawing/2014/main" id="{20838284-7928-3E48-93DF-F02A0258770D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902686" y="4520619"/>
            <a:ext cx="311526" cy="311526"/>
          </a:xfrm>
          <a:prstGeom prst="rect">
            <a:avLst/>
          </a:prstGeom>
        </p:spPr>
      </p:pic>
      <p:pic>
        <p:nvPicPr>
          <p:cNvPr id="36" name="Picture 76">
            <a:extLst>
              <a:ext uri="{FF2B5EF4-FFF2-40B4-BE49-F238E27FC236}">
                <a16:creationId xmlns:a16="http://schemas.microsoft.com/office/drawing/2014/main" id="{73DE33D9-7F6F-25C4-39EB-394B5FA40520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1230775" y="2398912"/>
            <a:ext cx="311526" cy="311526"/>
          </a:xfrm>
          <a:prstGeom prst="rect">
            <a:avLst/>
          </a:prstGeom>
        </p:spPr>
      </p:pic>
      <p:pic>
        <p:nvPicPr>
          <p:cNvPr id="37" name="Picture 76">
            <a:extLst>
              <a:ext uri="{FF2B5EF4-FFF2-40B4-BE49-F238E27FC236}">
                <a16:creationId xmlns:a16="http://schemas.microsoft.com/office/drawing/2014/main" id="{B094CE9F-CE43-D29E-B1C6-D968E9DF8FD2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4538328" y="1301169"/>
            <a:ext cx="311526" cy="311526"/>
          </a:xfrm>
          <a:prstGeom prst="rect">
            <a:avLst/>
          </a:prstGeom>
        </p:spPr>
      </p:pic>
      <p:pic>
        <p:nvPicPr>
          <p:cNvPr id="38" name="Picture 76">
            <a:extLst>
              <a:ext uri="{FF2B5EF4-FFF2-40B4-BE49-F238E27FC236}">
                <a16:creationId xmlns:a16="http://schemas.microsoft.com/office/drawing/2014/main" id="{8E20E425-3528-04DA-E786-DA26ED14638C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8116389" y="2120081"/>
            <a:ext cx="311526" cy="311526"/>
          </a:xfrm>
          <a:prstGeom prst="rect">
            <a:avLst/>
          </a:prstGeom>
        </p:spPr>
      </p:pic>
      <p:pic>
        <p:nvPicPr>
          <p:cNvPr id="39" name="Picture 76">
            <a:extLst>
              <a:ext uri="{FF2B5EF4-FFF2-40B4-BE49-F238E27FC236}">
                <a16:creationId xmlns:a16="http://schemas.microsoft.com/office/drawing/2014/main" id="{4DADDE23-63C3-21BF-AD54-03E9E10BFDF5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8580407" y="4412020"/>
            <a:ext cx="311526" cy="311526"/>
          </a:xfrm>
          <a:prstGeom prst="rect">
            <a:avLst/>
          </a:prstGeom>
        </p:spPr>
      </p:pic>
      <p:pic>
        <p:nvPicPr>
          <p:cNvPr id="3" name="Imagen 7">
            <a:extLst>
              <a:ext uri="{FF2B5EF4-FFF2-40B4-BE49-F238E27FC236}">
                <a16:creationId xmlns:a16="http://schemas.microsoft.com/office/drawing/2014/main" id="{723B7BFB-F5FB-679B-EC09-2EFF1FE97AB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2776" y="6453815"/>
            <a:ext cx="2466449" cy="276539"/>
          </a:xfrm>
          <a:prstGeom prst="rect">
            <a:avLst/>
          </a:prstGeom>
        </p:spPr>
      </p:pic>
      <p:pic>
        <p:nvPicPr>
          <p:cNvPr id="4" name="Cámara 3">
            <a:extLst>
              <a:ext uri="{FF2B5EF4-FFF2-40B4-BE49-F238E27FC236}">
                <a16:creationId xmlns:a16="http://schemas.microsoft.com/office/drawing/2014/main" id="{9C3C2498-A1D1-23E0-1413-961308E68B02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462314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21" grpId="0"/>
      <p:bldP spid="23" grpId="0"/>
      <p:bldP spid="31" grpId="0"/>
      <p:bldP spid="3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ED2FC1-F99A-CD9B-97F3-14AECCEF92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67E8BC61-A540-5C09-7121-5A0898D54122}"/>
              </a:ext>
            </a:extLst>
          </p:cNvPr>
          <p:cNvSpPr/>
          <p:nvPr/>
        </p:nvSpPr>
        <p:spPr>
          <a:xfrm>
            <a:off x="0" y="995486"/>
            <a:ext cx="12192000" cy="4476627"/>
          </a:xfrm>
          <a:prstGeom prst="rect">
            <a:avLst/>
          </a:prstGeom>
          <a:solidFill>
            <a:schemeClr val="bg2"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4F77EC69-4DC7-4250-368A-76F589BBD73E}"/>
              </a:ext>
            </a:extLst>
          </p:cNvPr>
          <p:cNvCxnSpPr>
            <a:cxnSpLocks/>
          </p:cNvCxnSpPr>
          <p:nvPr/>
        </p:nvCxnSpPr>
        <p:spPr>
          <a:xfrm>
            <a:off x="0" y="5481638"/>
            <a:ext cx="11406227" cy="0"/>
          </a:xfrm>
          <a:prstGeom prst="line">
            <a:avLst/>
          </a:prstGeom>
          <a:ln w="34925">
            <a:solidFill>
              <a:schemeClr val="tx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aralelogramo 7">
            <a:extLst>
              <a:ext uri="{FF2B5EF4-FFF2-40B4-BE49-F238E27FC236}">
                <a16:creationId xmlns:a16="http://schemas.microsoft.com/office/drawing/2014/main" id="{B35CBB04-D389-025F-BBF1-F44A60DEE168}"/>
              </a:ext>
            </a:extLst>
          </p:cNvPr>
          <p:cNvSpPr/>
          <p:nvPr/>
        </p:nvSpPr>
        <p:spPr>
          <a:xfrm>
            <a:off x="767450" y="1535975"/>
            <a:ext cx="4497177" cy="572757"/>
          </a:xfrm>
          <a:prstGeom prst="parallelogram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0" name="Paralelogramo 9">
            <a:extLst>
              <a:ext uri="{FF2B5EF4-FFF2-40B4-BE49-F238E27FC236}">
                <a16:creationId xmlns:a16="http://schemas.microsoft.com/office/drawing/2014/main" id="{F87BE5E0-0FDD-D60D-46AD-55E1D5BB5A14}"/>
              </a:ext>
            </a:extLst>
          </p:cNvPr>
          <p:cNvSpPr/>
          <p:nvPr/>
        </p:nvSpPr>
        <p:spPr>
          <a:xfrm>
            <a:off x="767450" y="2722616"/>
            <a:ext cx="3739602" cy="572757"/>
          </a:xfrm>
          <a:prstGeom prst="parallelogram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1" name="Paralelogramo 10">
            <a:extLst>
              <a:ext uri="{FF2B5EF4-FFF2-40B4-BE49-F238E27FC236}">
                <a16:creationId xmlns:a16="http://schemas.microsoft.com/office/drawing/2014/main" id="{AC49CEB2-1496-EB27-846C-8086B4C93BC5}"/>
              </a:ext>
            </a:extLst>
          </p:cNvPr>
          <p:cNvSpPr/>
          <p:nvPr/>
        </p:nvSpPr>
        <p:spPr>
          <a:xfrm>
            <a:off x="693691" y="3921826"/>
            <a:ext cx="2828925" cy="572757"/>
          </a:xfrm>
          <a:prstGeom prst="parallelogram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2" name="Paralelogramo 11">
            <a:extLst>
              <a:ext uri="{FF2B5EF4-FFF2-40B4-BE49-F238E27FC236}">
                <a16:creationId xmlns:a16="http://schemas.microsoft.com/office/drawing/2014/main" id="{57ED1CAC-3439-04F3-5B54-28FB152AD913}"/>
              </a:ext>
            </a:extLst>
          </p:cNvPr>
          <p:cNvSpPr/>
          <p:nvPr/>
        </p:nvSpPr>
        <p:spPr>
          <a:xfrm>
            <a:off x="886204" y="1448733"/>
            <a:ext cx="4497177" cy="572757"/>
          </a:xfrm>
          <a:prstGeom prst="parallelogram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3" name="Paralelogramo 12">
            <a:extLst>
              <a:ext uri="{FF2B5EF4-FFF2-40B4-BE49-F238E27FC236}">
                <a16:creationId xmlns:a16="http://schemas.microsoft.com/office/drawing/2014/main" id="{086E2742-5E20-9B59-B278-0EB2B5FBAAF0}"/>
              </a:ext>
            </a:extLst>
          </p:cNvPr>
          <p:cNvSpPr/>
          <p:nvPr/>
        </p:nvSpPr>
        <p:spPr>
          <a:xfrm>
            <a:off x="908190" y="2629794"/>
            <a:ext cx="3719885" cy="572757"/>
          </a:xfrm>
          <a:prstGeom prst="parallelogram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4" name="Paralelogramo 13">
            <a:extLst>
              <a:ext uri="{FF2B5EF4-FFF2-40B4-BE49-F238E27FC236}">
                <a16:creationId xmlns:a16="http://schemas.microsoft.com/office/drawing/2014/main" id="{C3A4ECB5-9817-D025-201B-5160FCB8316E}"/>
              </a:ext>
            </a:extLst>
          </p:cNvPr>
          <p:cNvSpPr/>
          <p:nvPr/>
        </p:nvSpPr>
        <p:spPr>
          <a:xfrm>
            <a:off x="827507" y="3833614"/>
            <a:ext cx="2828925" cy="572757"/>
          </a:xfrm>
          <a:prstGeom prst="parallelogram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0AD7C350-33BC-B282-B2F0-A589CDE491A8}"/>
              </a:ext>
            </a:extLst>
          </p:cNvPr>
          <p:cNvSpPr txBox="1"/>
          <p:nvPr/>
        </p:nvSpPr>
        <p:spPr>
          <a:xfrm>
            <a:off x="5703113" y="1420602"/>
            <a:ext cx="7150987" cy="76944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000" b="1" i="1" dirty="0">
                <a:solidFill>
                  <a:srgbClr val="00B050"/>
                </a:solidFill>
              </a:rPr>
              <a:t>&gt;181,000 operations</a:t>
            </a:r>
            <a:r>
              <a:rPr lang="en-US" b="1" i="1" dirty="0">
                <a:solidFill>
                  <a:schemeClr val="accent3"/>
                </a:solidFill>
              </a:rPr>
              <a:t>, meaning </a:t>
            </a:r>
            <a:r>
              <a:rPr lang="en-US" sz="2000" b="1" i="1" dirty="0">
                <a:solidFill>
                  <a:srgbClr val="00B050"/>
                </a:solidFill>
              </a:rPr>
              <a:t>&gt;€221 million</a:t>
            </a:r>
            <a:endParaRPr lang="en-US" sz="1600" b="1" i="1" dirty="0">
              <a:solidFill>
                <a:srgbClr val="00B050"/>
              </a:solidFill>
            </a:endParaRPr>
          </a:p>
          <a:p>
            <a:r>
              <a:rPr lang="en-US" b="1" i="1" dirty="0">
                <a:solidFill>
                  <a:schemeClr val="accent3"/>
                </a:solidFill>
              </a:rPr>
              <a:t>Estimated time savings of </a:t>
            </a:r>
            <a:r>
              <a:rPr lang="en-US" sz="2400" b="1" i="1" dirty="0">
                <a:solidFill>
                  <a:srgbClr val="00B050"/>
                </a:solidFill>
              </a:rPr>
              <a:t>&gt;25,000 working hours</a:t>
            </a:r>
            <a:endParaRPr lang="en-US" b="1" i="1" dirty="0">
              <a:solidFill>
                <a:schemeClr val="accent3"/>
              </a:solidFill>
              <a:ea typeface="Calibri"/>
              <a:cs typeface="Calibri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477731B5-866D-339F-3C18-9D76F0042BDC}"/>
              </a:ext>
            </a:extLst>
          </p:cNvPr>
          <p:cNvSpPr txBox="1"/>
          <p:nvPr/>
        </p:nvSpPr>
        <p:spPr>
          <a:xfrm>
            <a:off x="1063398" y="1579108"/>
            <a:ext cx="44971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1" dirty="0">
                <a:solidFill>
                  <a:schemeClr val="tx2"/>
                </a:solidFill>
              </a:rPr>
              <a:t>Order for payment procedures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3F4A0374-200E-4EC2-1F50-809768368F94}"/>
              </a:ext>
            </a:extLst>
          </p:cNvPr>
          <p:cNvSpPr txBox="1"/>
          <p:nvPr/>
        </p:nvSpPr>
        <p:spPr>
          <a:xfrm>
            <a:off x="1072193" y="2768398"/>
            <a:ext cx="342995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1">
                <a:solidFill>
                  <a:schemeClr val="tx2"/>
                </a:solidFill>
              </a:rPr>
              <a:t>Cancellation of criminal records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90DFF8E7-5C4E-9744-C408-BFE1BD7CE44F}"/>
              </a:ext>
            </a:extLst>
          </p:cNvPr>
          <p:cNvSpPr txBox="1"/>
          <p:nvPr/>
        </p:nvSpPr>
        <p:spPr>
          <a:xfrm>
            <a:off x="4968092" y="2633745"/>
            <a:ext cx="6641844" cy="76944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000" b="1" i="1" dirty="0">
                <a:solidFill>
                  <a:schemeClr val="accent6"/>
                </a:solidFill>
              </a:rPr>
              <a:t>&gt;1,000,000 operations</a:t>
            </a:r>
            <a:endParaRPr lang="en-US" sz="2000" b="1" i="1" dirty="0">
              <a:solidFill>
                <a:schemeClr val="accent6"/>
              </a:solidFill>
              <a:ea typeface="Calibri"/>
              <a:cs typeface="Calibri"/>
            </a:endParaRPr>
          </a:p>
          <a:p>
            <a:r>
              <a:rPr lang="en-US" b="1" i="1" dirty="0">
                <a:solidFill>
                  <a:schemeClr val="accent3"/>
                </a:solidFill>
              </a:rPr>
              <a:t>Estimated time savings of </a:t>
            </a:r>
            <a:r>
              <a:rPr lang="en-US" sz="2400" b="1" i="1" dirty="0">
                <a:solidFill>
                  <a:schemeClr val="accent6"/>
                </a:solidFill>
              </a:rPr>
              <a:t>&gt;</a:t>
            </a:r>
            <a:r>
              <a:rPr lang="en-US" sz="2400" b="1" i="1" dirty="0">
                <a:solidFill>
                  <a:srgbClr val="00B050"/>
                </a:solidFill>
              </a:rPr>
              <a:t>10,000 working hours</a:t>
            </a:r>
            <a:endParaRPr lang="en-US" sz="2400" b="1" i="1">
              <a:solidFill>
                <a:srgbClr val="00B050"/>
              </a:solidFill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C98F1C39-F810-C31A-DE31-C6749D4F6E84}"/>
              </a:ext>
            </a:extLst>
          </p:cNvPr>
          <p:cNvSpPr txBox="1"/>
          <p:nvPr/>
        </p:nvSpPr>
        <p:spPr>
          <a:xfrm>
            <a:off x="1056793" y="3935326"/>
            <a:ext cx="22803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1">
                <a:solidFill>
                  <a:schemeClr val="tx2"/>
                </a:solidFill>
              </a:rPr>
              <a:t>Nationality processes</a:t>
            </a:r>
          </a:p>
        </p:txBody>
      </p: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D3483692-C9D4-038F-E7AD-338BB1AF680B}"/>
              </a:ext>
            </a:extLst>
          </p:cNvPr>
          <p:cNvCxnSpPr>
            <a:cxnSpLocks/>
          </p:cNvCxnSpPr>
          <p:nvPr/>
        </p:nvCxnSpPr>
        <p:spPr>
          <a:xfrm>
            <a:off x="0" y="1005011"/>
            <a:ext cx="11441813" cy="0"/>
          </a:xfrm>
          <a:prstGeom prst="line">
            <a:avLst/>
          </a:prstGeom>
          <a:ln w="34925">
            <a:solidFill>
              <a:schemeClr val="tx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Imagen 21">
            <a:extLst>
              <a:ext uri="{FF2B5EF4-FFF2-40B4-BE49-F238E27FC236}">
                <a16:creationId xmlns:a16="http://schemas.microsoft.com/office/drawing/2014/main" id="{E21AE176-C9B4-1010-C4E8-D90E5CB6194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44987"/>
          <a:stretch>
            <a:fillRect/>
          </a:stretch>
        </p:blipFill>
        <p:spPr>
          <a:xfrm>
            <a:off x="8929088" y="3966888"/>
            <a:ext cx="3561775" cy="2884735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20EC8C1F-23E2-6AA7-2C73-55D107CD5A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20EC8C1F-23E2-6AA7-2C73-55D107CD5A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45852B4-B3A3-F2D3-BE16-2FB96002BDFB}"/>
              </a:ext>
            </a:extLst>
          </p:cNvPr>
          <p:cNvSpPr txBox="1">
            <a:spLocks/>
          </p:cNvSpPr>
          <p:nvPr/>
        </p:nvSpPr>
        <p:spPr>
          <a:xfrm>
            <a:off x="11361738" y="6381750"/>
            <a:ext cx="830262" cy="355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2BFCD6-C37F-4D4F-B6AD-71D3A36D527F}" type="slidenum">
              <a:rPr lang="es-ES" b="1" smtClean="0">
                <a:solidFill>
                  <a:schemeClr val="tx2"/>
                </a:solidFill>
              </a:rPr>
              <a:pPr/>
              <a:t>3</a:t>
            </a:fld>
            <a:endParaRPr lang="es-ES" b="1">
              <a:solidFill>
                <a:schemeClr val="tx2"/>
              </a:solidFill>
            </a:endParaRPr>
          </a:p>
        </p:txBody>
      </p:sp>
      <p:sp>
        <p:nvSpPr>
          <p:cNvPr id="6" name="Title 57">
            <a:extLst>
              <a:ext uri="{FF2B5EF4-FFF2-40B4-BE49-F238E27FC236}">
                <a16:creationId xmlns:a16="http://schemas.microsoft.com/office/drawing/2014/main" id="{C0548FE2-09A4-05D1-5DCB-ACABF4AF7779}"/>
              </a:ext>
            </a:extLst>
          </p:cNvPr>
          <p:cNvSpPr txBox="1">
            <a:spLocks/>
          </p:cNvSpPr>
          <p:nvPr/>
        </p:nvSpPr>
        <p:spPr>
          <a:xfrm>
            <a:off x="76515" y="-83862"/>
            <a:ext cx="7067601" cy="6206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>
                <a:solidFill>
                  <a:schemeClr val="accent5">
                    <a:lumMod val="50000"/>
                  </a:schemeClr>
                </a:solidFill>
              </a:rPr>
              <a:t>02    </a:t>
            </a:r>
            <a:r>
              <a:rPr lang="en-US" sz="2800"/>
              <a:t>What if we (hyper)automate processes?</a:t>
            </a:r>
            <a:endParaRPr lang="es-ES"/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D44A3F98-51A3-FB98-D42F-9C957087E484}"/>
              </a:ext>
            </a:extLst>
          </p:cNvPr>
          <p:cNvSpPr txBox="1"/>
          <p:nvPr/>
        </p:nvSpPr>
        <p:spPr>
          <a:xfrm>
            <a:off x="3885718" y="3921826"/>
            <a:ext cx="6641844" cy="76944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000" b="1" i="1" dirty="0">
                <a:solidFill>
                  <a:schemeClr val="accent6"/>
                </a:solidFill>
              </a:rPr>
              <a:t>&gt;4,000,000 operations</a:t>
            </a:r>
            <a:endParaRPr lang="en-US" sz="2000" b="1" i="1" dirty="0">
              <a:solidFill>
                <a:schemeClr val="accent6"/>
              </a:solidFill>
              <a:ea typeface="Calibri"/>
              <a:cs typeface="Calibri"/>
            </a:endParaRPr>
          </a:p>
          <a:p>
            <a:r>
              <a:rPr lang="en-US" b="1" i="1" dirty="0">
                <a:solidFill>
                  <a:schemeClr val="accent3"/>
                </a:solidFill>
              </a:rPr>
              <a:t>Estimated time savings of </a:t>
            </a:r>
            <a:r>
              <a:rPr lang="en-US" sz="2400" b="1" i="1" dirty="0">
                <a:solidFill>
                  <a:schemeClr val="accent6"/>
                </a:solidFill>
              </a:rPr>
              <a:t>&gt;390,000 working hours</a:t>
            </a:r>
            <a:endParaRPr lang="en-US" sz="2400" b="1" i="1">
              <a:solidFill>
                <a:schemeClr val="accent6"/>
              </a:solidFill>
              <a:ea typeface="Calibri"/>
              <a:cs typeface="Calibri"/>
            </a:endParaRPr>
          </a:p>
        </p:txBody>
      </p:sp>
      <p:pic>
        <p:nvPicPr>
          <p:cNvPr id="7" name="Imagen 7">
            <a:extLst>
              <a:ext uri="{FF2B5EF4-FFF2-40B4-BE49-F238E27FC236}">
                <a16:creationId xmlns:a16="http://schemas.microsoft.com/office/drawing/2014/main" id="{1253DA3A-D426-B3F4-FA54-7CC5BBC92BC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2776" y="6453815"/>
            <a:ext cx="2466449" cy="276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9714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/>
      <p:bldP spid="16" grpId="0"/>
      <p:bldP spid="17" grpId="0"/>
      <p:bldP spid="18" grpId="0"/>
      <p:bldP spid="19" grpId="0"/>
      <p:bldP spid="2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506FFD-8483-407B-B5AB-807C81C81C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Una caricatura de una persona&#10;&#10;El contenido generado por IA puede ser incorrecto.">
            <a:extLst>
              <a:ext uri="{FF2B5EF4-FFF2-40B4-BE49-F238E27FC236}">
                <a16:creationId xmlns:a16="http://schemas.microsoft.com/office/drawing/2014/main" id="{C5447A3E-759A-B83E-BE6F-A26B18284DC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47000"/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7" r="1009"/>
          <a:stretch>
            <a:fillRect/>
          </a:stretch>
        </p:blipFill>
        <p:spPr>
          <a:xfrm>
            <a:off x="0" y="503810"/>
            <a:ext cx="12208470" cy="6389898"/>
          </a:xfrm>
          <a:prstGeom prst="rect">
            <a:avLst/>
          </a:prstGeom>
        </p:spPr>
      </p:pic>
      <p:sp>
        <p:nvSpPr>
          <p:cNvPr id="104" name="Rectangle 15">
            <a:extLst>
              <a:ext uri="{FF2B5EF4-FFF2-40B4-BE49-F238E27FC236}">
                <a16:creationId xmlns:a16="http://schemas.microsoft.com/office/drawing/2014/main" id="{668F7E13-5AFC-0AA3-64A1-06BDE90D7DE6}"/>
              </a:ext>
            </a:extLst>
          </p:cNvPr>
          <p:cNvSpPr/>
          <p:nvPr/>
        </p:nvSpPr>
        <p:spPr>
          <a:xfrm>
            <a:off x="531414" y="0"/>
            <a:ext cx="8301451" cy="503810"/>
          </a:xfrm>
          <a:prstGeom prst="rect">
            <a:avLst/>
          </a:prstGeom>
          <a:gradFill flip="none" rotWithShape="1">
            <a:gsLst>
              <a:gs pos="0">
                <a:srgbClr val="12325C"/>
              </a:gs>
              <a:gs pos="100000">
                <a:srgbClr val="137ADB">
                  <a:alpha val="89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5" name="Oval 3">
            <a:extLst>
              <a:ext uri="{FF2B5EF4-FFF2-40B4-BE49-F238E27FC236}">
                <a16:creationId xmlns:a16="http://schemas.microsoft.com/office/drawing/2014/main" id="{C5B53548-B628-CDCA-594A-F03C24F3D08B}"/>
              </a:ext>
            </a:extLst>
          </p:cNvPr>
          <p:cNvSpPr/>
          <p:nvPr/>
        </p:nvSpPr>
        <p:spPr>
          <a:xfrm>
            <a:off x="11424592" y="-387424"/>
            <a:ext cx="1584176" cy="1584176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06" name="Picture 4">
            <a:extLst>
              <a:ext uri="{FF2B5EF4-FFF2-40B4-BE49-F238E27FC236}">
                <a16:creationId xmlns:a16="http://schemas.microsoft.com/office/drawing/2014/main" id="{8E004F2C-9576-7EC8-81FF-1790B9F1BD4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2350" t="14254"/>
          <a:stretch/>
        </p:blipFill>
        <p:spPr>
          <a:xfrm>
            <a:off x="0" y="-3028"/>
            <a:ext cx="710094" cy="784124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19159E47-FC8F-5513-FC98-3BAD5B7635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95" imgH="394" progId="TCLayout.ActiveDocument.1">
                  <p:embed/>
                </p:oleObj>
              </mc:Choice>
              <mc:Fallback>
                <p:oleObj name="Diapositiva de think-cell" r:id="rId5" imgW="395" imgH="394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19159E47-FC8F-5513-FC98-3BAD5B7635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Imagen 7">
            <a:extLst>
              <a:ext uri="{FF2B5EF4-FFF2-40B4-BE49-F238E27FC236}">
                <a16:creationId xmlns:a16="http://schemas.microsoft.com/office/drawing/2014/main" id="{79408CB9-706B-3D24-C40D-B2E34FBA8B2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2776" y="6453815"/>
            <a:ext cx="2466449" cy="276539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1CC32DE5-777F-CF8D-FA3E-EDD04853A44C}"/>
              </a:ext>
            </a:extLst>
          </p:cNvPr>
          <p:cNvSpPr txBox="1">
            <a:spLocks/>
          </p:cNvSpPr>
          <p:nvPr/>
        </p:nvSpPr>
        <p:spPr>
          <a:xfrm>
            <a:off x="11361738" y="6381750"/>
            <a:ext cx="830262" cy="355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2BFCD6-C37F-4D4F-B6AD-71D3A36D527F}" type="slidenum">
              <a:rPr lang="es-ES" b="1" smtClean="0">
                <a:solidFill>
                  <a:schemeClr val="tx2"/>
                </a:solidFill>
              </a:rPr>
              <a:pPr/>
              <a:t>4</a:t>
            </a:fld>
            <a:endParaRPr lang="es-ES" b="1">
              <a:solidFill>
                <a:schemeClr val="tx2"/>
              </a:solidFill>
            </a:endParaRP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34AE9530-A293-FBAB-0165-33DDABC1E12A}"/>
              </a:ext>
            </a:extLst>
          </p:cNvPr>
          <p:cNvSpPr txBox="1">
            <a:spLocks/>
          </p:cNvSpPr>
          <p:nvPr/>
        </p:nvSpPr>
        <p:spPr>
          <a:xfrm>
            <a:off x="11361738" y="6381750"/>
            <a:ext cx="830262" cy="355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2BFCD6-C37F-4D4F-B6AD-71D3A36D527F}" type="slidenum">
              <a:rPr lang="es-ES" b="1" smtClean="0">
                <a:solidFill>
                  <a:schemeClr val="tx2"/>
                </a:solidFill>
              </a:rPr>
              <a:pPr/>
              <a:t>4</a:t>
            </a:fld>
            <a:endParaRPr lang="es-ES" b="1">
              <a:solidFill>
                <a:schemeClr val="tx2"/>
              </a:solidFill>
            </a:endParaRP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BEFB196C-2C2B-285F-3283-849B66E286EE}"/>
              </a:ext>
            </a:extLst>
          </p:cNvPr>
          <p:cNvGrpSpPr/>
          <p:nvPr/>
        </p:nvGrpSpPr>
        <p:grpSpPr>
          <a:xfrm>
            <a:off x="945107" y="1956891"/>
            <a:ext cx="10325296" cy="3280638"/>
            <a:chOff x="918213" y="1956891"/>
            <a:chExt cx="10325296" cy="3280638"/>
          </a:xfrm>
        </p:grpSpPr>
        <p:grpSp>
          <p:nvGrpSpPr>
            <p:cNvPr id="14" name="Grupo 13">
              <a:extLst>
                <a:ext uri="{FF2B5EF4-FFF2-40B4-BE49-F238E27FC236}">
                  <a16:creationId xmlns:a16="http://schemas.microsoft.com/office/drawing/2014/main" id="{ED74AF6F-84D4-9CF7-8FC8-DF675E118C35}"/>
                </a:ext>
              </a:extLst>
            </p:cNvPr>
            <p:cNvGrpSpPr/>
            <p:nvPr/>
          </p:nvGrpSpPr>
          <p:grpSpPr>
            <a:xfrm>
              <a:off x="918213" y="1956891"/>
              <a:ext cx="10325296" cy="3280638"/>
              <a:chOff x="918213" y="2212384"/>
              <a:chExt cx="10325296" cy="3280638"/>
            </a:xfrm>
          </p:grpSpPr>
          <p:grpSp>
            <p:nvGrpSpPr>
              <p:cNvPr id="74" name="Grupo 73">
                <a:extLst>
                  <a:ext uri="{FF2B5EF4-FFF2-40B4-BE49-F238E27FC236}">
                    <a16:creationId xmlns:a16="http://schemas.microsoft.com/office/drawing/2014/main" id="{5A492F19-B3CC-DBDE-BDB1-D6662B4BBA28}"/>
                  </a:ext>
                </a:extLst>
              </p:cNvPr>
              <p:cNvGrpSpPr/>
              <p:nvPr/>
            </p:nvGrpSpPr>
            <p:grpSpPr>
              <a:xfrm>
                <a:off x="918213" y="2897937"/>
                <a:ext cx="10325296" cy="2595085"/>
                <a:chOff x="255494" y="2131457"/>
                <a:chExt cx="10325296" cy="2595085"/>
              </a:xfrm>
            </p:grpSpPr>
            <p:grpSp>
              <p:nvGrpSpPr>
                <p:cNvPr id="81" name="Gráfico 2">
                  <a:extLst>
                    <a:ext uri="{FF2B5EF4-FFF2-40B4-BE49-F238E27FC236}">
                      <a16:creationId xmlns:a16="http://schemas.microsoft.com/office/drawing/2014/main" id="{A58362EF-6FD3-09A4-C0D0-5B86F6087BEF}"/>
                    </a:ext>
                  </a:extLst>
                </p:cNvPr>
                <p:cNvGrpSpPr/>
                <p:nvPr/>
              </p:nvGrpSpPr>
              <p:grpSpPr>
                <a:xfrm>
                  <a:off x="255494" y="2131457"/>
                  <a:ext cx="10325296" cy="2595085"/>
                  <a:chOff x="0" y="2132199"/>
                  <a:chExt cx="10325296" cy="2595085"/>
                </a:xfrm>
              </p:grpSpPr>
              <p:grpSp>
                <p:nvGrpSpPr>
                  <p:cNvPr id="87" name="Gráfico 2">
                    <a:extLst>
                      <a:ext uri="{FF2B5EF4-FFF2-40B4-BE49-F238E27FC236}">
                        <a16:creationId xmlns:a16="http://schemas.microsoft.com/office/drawing/2014/main" id="{02EEA669-E634-2B1B-85FF-F43CB0D7A1A3}"/>
                      </a:ext>
                    </a:extLst>
                  </p:cNvPr>
                  <p:cNvGrpSpPr/>
                  <p:nvPr/>
                </p:nvGrpSpPr>
                <p:grpSpPr>
                  <a:xfrm>
                    <a:off x="0" y="2132199"/>
                    <a:ext cx="10325296" cy="2595085"/>
                    <a:chOff x="0" y="2132199"/>
                    <a:chExt cx="10325296" cy="2595085"/>
                  </a:xfrm>
                  <a:solidFill>
                    <a:srgbClr val="0045FF"/>
                  </a:solidFill>
                </p:grpSpPr>
                <p:sp>
                  <p:nvSpPr>
                    <p:cNvPr id="93" name="Forma libre: forma 5">
                      <a:extLst>
                        <a:ext uri="{FF2B5EF4-FFF2-40B4-BE49-F238E27FC236}">
                          <a16:creationId xmlns:a16="http://schemas.microsoft.com/office/drawing/2014/main" id="{5E3E2A9E-8DC3-DE72-F375-DFEC9F92ED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0" y="2132199"/>
                      <a:ext cx="2112199" cy="2595085"/>
                    </a:xfrm>
                    <a:custGeom>
                      <a:avLst/>
                      <a:gdLst>
                        <a:gd name="connsiteX0" fmla="*/ 1681703 w 2112199"/>
                        <a:gd name="connsiteY0" fmla="*/ 2595085 h 2595085"/>
                        <a:gd name="connsiteX1" fmla="*/ 242771 w 2112199"/>
                        <a:gd name="connsiteY1" fmla="*/ 2595085 h 2595085"/>
                        <a:gd name="connsiteX2" fmla="*/ 0 w 2112199"/>
                        <a:gd name="connsiteY2" fmla="*/ 2352349 h 2595085"/>
                        <a:gd name="connsiteX3" fmla="*/ 0 w 2112199"/>
                        <a:gd name="connsiteY3" fmla="*/ 242771 h 2595085"/>
                        <a:gd name="connsiteX4" fmla="*/ 242771 w 2112199"/>
                        <a:gd name="connsiteY4" fmla="*/ 0 h 2595085"/>
                        <a:gd name="connsiteX5" fmla="*/ 1681703 w 2112199"/>
                        <a:gd name="connsiteY5" fmla="*/ 0 h 2595085"/>
                        <a:gd name="connsiteX6" fmla="*/ 1924474 w 2112199"/>
                        <a:gd name="connsiteY6" fmla="*/ 242771 h 2595085"/>
                        <a:gd name="connsiteX7" fmla="*/ 1924474 w 2112199"/>
                        <a:gd name="connsiteY7" fmla="*/ 1187435 h 2595085"/>
                        <a:gd name="connsiteX8" fmla="*/ 2112199 w 2112199"/>
                        <a:gd name="connsiteY8" fmla="*/ 1187435 h 2595085"/>
                        <a:gd name="connsiteX9" fmla="*/ 2112199 w 2112199"/>
                        <a:gd name="connsiteY9" fmla="*/ 1305251 h 2595085"/>
                        <a:gd name="connsiteX10" fmla="*/ 1806658 w 2112199"/>
                        <a:gd name="connsiteY10" fmla="*/ 1305251 h 2595085"/>
                        <a:gd name="connsiteX11" fmla="*/ 1806658 w 2112199"/>
                        <a:gd name="connsiteY11" fmla="*/ 242771 h 2595085"/>
                        <a:gd name="connsiteX12" fmla="*/ 1681703 w 2112199"/>
                        <a:gd name="connsiteY12" fmla="*/ 117816 h 2595085"/>
                        <a:gd name="connsiteX13" fmla="*/ 242771 w 2112199"/>
                        <a:gd name="connsiteY13" fmla="*/ 117816 h 2595085"/>
                        <a:gd name="connsiteX14" fmla="*/ 117816 w 2112199"/>
                        <a:gd name="connsiteY14" fmla="*/ 242771 h 2595085"/>
                        <a:gd name="connsiteX15" fmla="*/ 117816 w 2112199"/>
                        <a:gd name="connsiteY15" fmla="*/ 2352349 h 2595085"/>
                        <a:gd name="connsiteX16" fmla="*/ 242771 w 2112199"/>
                        <a:gd name="connsiteY16" fmla="*/ 2477304 h 2595085"/>
                        <a:gd name="connsiteX17" fmla="*/ 1681703 w 2112199"/>
                        <a:gd name="connsiteY17" fmla="*/ 2477304 h 2595085"/>
                        <a:gd name="connsiteX18" fmla="*/ 1806658 w 2112199"/>
                        <a:gd name="connsiteY18" fmla="*/ 2352349 h 2595085"/>
                        <a:gd name="connsiteX19" fmla="*/ 1806658 w 2112199"/>
                        <a:gd name="connsiteY19" fmla="*/ 1474111 h 2595085"/>
                        <a:gd name="connsiteX20" fmla="*/ 1924474 w 2112199"/>
                        <a:gd name="connsiteY20" fmla="*/ 1474111 h 2595085"/>
                        <a:gd name="connsiteX21" fmla="*/ 1924474 w 2112199"/>
                        <a:gd name="connsiteY21" fmla="*/ 2352349 h 2595085"/>
                        <a:gd name="connsiteX22" fmla="*/ 1681703 w 2112199"/>
                        <a:gd name="connsiteY22" fmla="*/ 2595085 h 259508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</a:cxnLst>
                      <a:rect l="l" t="t" r="r" b="b"/>
                      <a:pathLst>
                        <a:path w="2112199" h="2595085">
                          <a:moveTo>
                            <a:pt x="1681703" y="2595085"/>
                          </a:moveTo>
                          <a:lnTo>
                            <a:pt x="242771" y="2595085"/>
                          </a:lnTo>
                          <a:cubicBezTo>
                            <a:pt x="108918" y="2595085"/>
                            <a:pt x="0" y="2486202"/>
                            <a:pt x="0" y="2352349"/>
                          </a:cubicBezTo>
                          <a:lnTo>
                            <a:pt x="0" y="242771"/>
                          </a:lnTo>
                          <a:cubicBezTo>
                            <a:pt x="0" y="108883"/>
                            <a:pt x="108918" y="0"/>
                            <a:pt x="242771" y="0"/>
                          </a:cubicBezTo>
                          <a:lnTo>
                            <a:pt x="1681703" y="0"/>
                          </a:lnTo>
                          <a:cubicBezTo>
                            <a:pt x="1815556" y="0"/>
                            <a:pt x="1924474" y="108883"/>
                            <a:pt x="1924474" y="242771"/>
                          </a:cubicBezTo>
                          <a:lnTo>
                            <a:pt x="1924474" y="1187435"/>
                          </a:lnTo>
                          <a:lnTo>
                            <a:pt x="2112199" y="1187435"/>
                          </a:lnTo>
                          <a:lnTo>
                            <a:pt x="2112199" y="1305251"/>
                          </a:lnTo>
                          <a:lnTo>
                            <a:pt x="1806658" y="1305251"/>
                          </a:lnTo>
                          <a:lnTo>
                            <a:pt x="1806658" y="242771"/>
                          </a:lnTo>
                          <a:cubicBezTo>
                            <a:pt x="1806658" y="173861"/>
                            <a:pt x="1750613" y="117816"/>
                            <a:pt x="1681703" y="117816"/>
                          </a:cubicBezTo>
                          <a:lnTo>
                            <a:pt x="242771" y="117816"/>
                          </a:lnTo>
                          <a:cubicBezTo>
                            <a:pt x="173861" y="117816"/>
                            <a:pt x="117816" y="173861"/>
                            <a:pt x="117816" y="242771"/>
                          </a:cubicBezTo>
                          <a:lnTo>
                            <a:pt x="117816" y="2352349"/>
                          </a:lnTo>
                          <a:cubicBezTo>
                            <a:pt x="117816" y="2421259"/>
                            <a:pt x="173861" y="2477304"/>
                            <a:pt x="242771" y="2477304"/>
                          </a:cubicBezTo>
                          <a:lnTo>
                            <a:pt x="1681703" y="2477304"/>
                          </a:lnTo>
                          <a:cubicBezTo>
                            <a:pt x="1750613" y="2477304"/>
                            <a:pt x="1806658" y="2421259"/>
                            <a:pt x="1806658" y="2352349"/>
                          </a:cubicBezTo>
                          <a:lnTo>
                            <a:pt x="1806658" y="1474111"/>
                          </a:lnTo>
                          <a:lnTo>
                            <a:pt x="1924474" y="1474111"/>
                          </a:lnTo>
                          <a:lnTo>
                            <a:pt x="1924474" y="2352349"/>
                          </a:lnTo>
                          <a:cubicBezTo>
                            <a:pt x="1924439" y="2486202"/>
                            <a:pt x="1815556" y="2595085"/>
                            <a:pt x="1681703" y="2595085"/>
                          </a:cubicBezTo>
                          <a:close/>
                        </a:path>
                      </a:pathLst>
                    </a:custGeom>
                    <a:solidFill>
                      <a:schemeClr val="tx2"/>
                    </a:solidFill>
                    <a:ln w="344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s-ES"/>
                    </a:p>
                  </p:txBody>
                </p:sp>
                <p:sp>
                  <p:nvSpPr>
                    <p:cNvPr id="94" name="Forma libre: forma 6">
                      <a:extLst>
                        <a:ext uri="{FF2B5EF4-FFF2-40B4-BE49-F238E27FC236}">
                          <a16:creationId xmlns:a16="http://schemas.microsoft.com/office/drawing/2014/main" id="{953F8F31-3FA9-BA1D-C230-DB5488A4A9F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053257" y="2132199"/>
                      <a:ext cx="2112199" cy="1305216"/>
                    </a:xfrm>
                    <a:custGeom>
                      <a:avLst/>
                      <a:gdLst>
                        <a:gd name="connsiteX0" fmla="*/ 2112199 w 2112199"/>
                        <a:gd name="connsiteY0" fmla="*/ 1305216 h 1305216"/>
                        <a:gd name="connsiteX1" fmla="*/ 1806658 w 2112199"/>
                        <a:gd name="connsiteY1" fmla="*/ 1305216 h 1305216"/>
                        <a:gd name="connsiteX2" fmla="*/ 1806658 w 2112199"/>
                        <a:gd name="connsiteY2" fmla="*/ 242771 h 1305216"/>
                        <a:gd name="connsiteX3" fmla="*/ 1681703 w 2112199"/>
                        <a:gd name="connsiteY3" fmla="*/ 117816 h 1305216"/>
                        <a:gd name="connsiteX4" fmla="*/ 242771 w 2112199"/>
                        <a:gd name="connsiteY4" fmla="*/ 117816 h 1305216"/>
                        <a:gd name="connsiteX5" fmla="*/ 117816 w 2112199"/>
                        <a:gd name="connsiteY5" fmla="*/ 242771 h 1305216"/>
                        <a:gd name="connsiteX6" fmla="*/ 117816 w 2112199"/>
                        <a:gd name="connsiteY6" fmla="*/ 994536 h 1305216"/>
                        <a:gd name="connsiteX7" fmla="*/ 0 w 2112199"/>
                        <a:gd name="connsiteY7" fmla="*/ 994536 h 1305216"/>
                        <a:gd name="connsiteX8" fmla="*/ 0 w 2112199"/>
                        <a:gd name="connsiteY8" fmla="*/ 242771 h 1305216"/>
                        <a:gd name="connsiteX9" fmla="*/ 242771 w 2112199"/>
                        <a:gd name="connsiteY9" fmla="*/ 0 h 1305216"/>
                        <a:gd name="connsiteX10" fmla="*/ 1681703 w 2112199"/>
                        <a:gd name="connsiteY10" fmla="*/ 0 h 1305216"/>
                        <a:gd name="connsiteX11" fmla="*/ 1924439 w 2112199"/>
                        <a:gd name="connsiteY11" fmla="*/ 242771 h 1305216"/>
                        <a:gd name="connsiteX12" fmla="*/ 1924439 w 2112199"/>
                        <a:gd name="connsiteY12" fmla="*/ 1187435 h 1305216"/>
                        <a:gd name="connsiteX13" fmla="*/ 2112165 w 2112199"/>
                        <a:gd name="connsiteY13" fmla="*/ 1187435 h 1305216"/>
                        <a:gd name="connsiteX14" fmla="*/ 2112165 w 2112199"/>
                        <a:gd name="connsiteY14" fmla="*/ 1305216 h 130521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</a:cxnLst>
                      <a:rect l="l" t="t" r="r" b="b"/>
                      <a:pathLst>
                        <a:path w="2112199" h="1305216">
                          <a:moveTo>
                            <a:pt x="2112199" y="1305216"/>
                          </a:moveTo>
                          <a:lnTo>
                            <a:pt x="1806658" y="1305216"/>
                          </a:lnTo>
                          <a:lnTo>
                            <a:pt x="1806658" y="242771"/>
                          </a:lnTo>
                          <a:cubicBezTo>
                            <a:pt x="1806658" y="173861"/>
                            <a:pt x="1750613" y="117816"/>
                            <a:pt x="1681703" y="117816"/>
                          </a:cubicBezTo>
                          <a:lnTo>
                            <a:pt x="242771" y="117816"/>
                          </a:lnTo>
                          <a:cubicBezTo>
                            <a:pt x="173861" y="117816"/>
                            <a:pt x="117816" y="173861"/>
                            <a:pt x="117816" y="242771"/>
                          </a:cubicBezTo>
                          <a:lnTo>
                            <a:pt x="117816" y="994536"/>
                          </a:lnTo>
                          <a:lnTo>
                            <a:pt x="0" y="994536"/>
                          </a:lnTo>
                          <a:lnTo>
                            <a:pt x="0" y="242771"/>
                          </a:lnTo>
                          <a:cubicBezTo>
                            <a:pt x="35" y="108883"/>
                            <a:pt x="108917" y="0"/>
                            <a:pt x="242771" y="0"/>
                          </a:cubicBezTo>
                          <a:lnTo>
                            <a:pt x="1681703" y="0"/>
                          </a:lnTo>
                          <a:cubicBezTo>
                            <a:pt x="1815556" y="0"/>
                            <a:pt x="1924439" y="108883"/>
                            <a:pt x="1924439" y="242771"/>
                          </a:cubicBezTo>
                          <a:lnTo>
                            <a:pt x="1924439" y="1187435"/>
                          </a:lnTo>
                          <a:lnTo>
                            <a:pt x="2112165" y="1187435"/>
                          </a:lnTo>
                          <a:lnTo>
                            <a:pt x="2112165" y="1305216"/>
                          </a:lnTo>
                          <a:close/>
                        </a:path>
                      </a:pathLst>
                    </a:custGeom>
                    <a:solidFill>
                      <a:schemeClr val="tx2"/>
                    </a:solidFill>
                    <a:ln w="344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s-ES"/>
                    </a:p>
                  </p:txBody>
                </p:sp>
                <p:sp>
                  <p:nvSpPr>
                    <p:cNvPr id="95" name="Forma libre: forma 7">
                      <a:extLst>
                        <a:ext uri="{FF2B5EF4-FFF2-40B4-BE49-F238E27FC236}">
                          <a16:creationId xmlns:a16="http://schemas.microsoft.com/office/drawing/2014/main" id="{A6379E1A-F28F-8C53-4788-CB9A4B4AFF8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053291" y="3321358"/>
                      <a:ext cx="1924473" cy="1405925"/>
                    </a:xfrm>
                    <a:custGeom>
                      <a:avLst/>
                      <a:gdLst>
                        <a:gd name="connsiteX0" fmla="*/ 1681668 w 1924473"/>
                        <a:gd name="connsiteY0" fmla="*/ 1405925 h 1405925"/>
                        <a:gd name="connsiteX1" fmla="*/ 242736 w 1924473"/>
                        <a:gd name="connsiteY1" fmla="*/ 1405925 h 1405925"/>
                        <a:gd name="connsiteX2" fmla="*/ 0 w 1924473"/>
                        <a:gd name="connsiteY2" fmla="*/ 1163155 h 1405925"/>
                        <a:gd name="connsiteX3" fmla="*/ 0 w 1924473"/>
                        <a:gd name="connsiteY3" fmla="*/ 0 h 1405925"/>
                        <a:gd name="connsiteX4" fmla="*/ 117816 w 1924473"/>
                        <a:gd name="connsiteY4" fmla="*/ 0 h 1405925"/>
                        <a:gd name="connsiteX5" fmla="*/ 117816 w 1924473"/>
                        <a:gd name="connsiteY5" fmla="*/ 1163189 h 1405925"/>
                        <a:gd name="connsiteX6" fmla="*/ 242771 w 1924473"/>
                        <a:gd name="connsiteY6" fmla="*/ 1288144 h 1405925"/>
                        <a:gd name="connsiteX7" fmla="*/ 1681703 w 1924473"/>
                        <a:gd name="connsiteY7" fmla="*/ 1288144 h 1405925"/>
                        <a:gd name="connsiteX8" fmla="*/ 1806658 w 1924473"/>
                        <a:gd name="connsiteY8" fmla="*/ 1163189 h 1405925"/>
                        <a:gd name="connsiteX9" fmla="*/ 1806658 w 1924473"/>
                        <a:gd name="connsiteY9" fmla="*/ 284951 h 1405925"/>
                        <a:gd name="connsiteX10" fmla="*/ 1924473 w 1924473"/>
                        <a:gd name="connsiteY10" fmla="*/ 284951 h 1405925"/>
                        <a:gd name="connsiteX11" fmla="*/ 1924473 w 1924473"/>
                        <a:gd name="connsiteY11" fmla="*/ 1163189 h 1405925"/>
                        <a:gd name="connsiteX12" fmla="*/ 1681668 w 1924473"/>
                        <a:gd name="connsiteY12" fmla="*/ 1405925 h 14059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1924473" h="1405925">
                          <a:moveTo>
                            <a:pt x="1681668" y="1405925"/>
                          </a:moveTo>
                          <a:lnTo>
                            <a:pt x="242736" y="1405925"/>
                          </a:lnTo>
                          <a:cubicBezTo>
                            <a:pt x="108883" y="1405925"/>
                            <a:pt x="0" y="1297042"/>
                            <a:pt x="0" y="1163155"/>
                          </a:cubicBezTo>
                          <a:lnTo>
                            <a:pt x="0" y="0"/>
                          </a:lnTo>
                          <a:lnTo>
                            <a:pt x="117816" y="0"/>
                          </a:lnTo>
                          <a:lnTo>
                            <a:pt x="117816" y="1163189"/>
                          </a:lnTo>
                          <a:cubicBezTo>
                            <a:pt x="117816" y="1232099"/>
                            <a:pt x="173861" y="1288144"/>
                            <a:pt x="242771" y="1288144"/>
                          </a:cubicBezTo>
                          <a:lnTo>
                            <a:pt x="1681703" y="1288144"/>
                          </a:lnTo>
                          <a:cubicBezTo>
                            <a:pt x="1750613" y="1288144"/>
                            <a:pt x="1806658" y="1232099"/>
                            <a:pt x="1806658" y="1163189"/>
                          </a:cubicBezTo>
                          <a:lnTo>
                            <a:pt x="1806658" y="284951"/>
                          </a:lnTo>
                          <a:lnTo>
                            <a:pt x="1924473" y="284951"/>
                          </a:lnTo>
                          <a:lnTo>
                            <a:pt x="1924473" y="1163189"/>
                          </a:lnTo>
                          <a:cubicBezTo>
                            <a:pt x="1924439" y="1297042"/>
                            <a:pt x="1815522" y="1405925"/>
                            <a:pt x="1681668" y="1405925"/>
                          </a:cubicBezTo>
                          <a:close/>
                        </a:path>
                      </a:pathLst>
                    </a:custGeom>
                    <a:solidFill>
                      <a:schemeClr val="tx2"/>
                    </a:solidFill>
                    <a:ln w="344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s-ES"/>
                    </a:p>
                  </p:txBody>
                </p:sp>
                <p:sp>
                  <p:nvSpPr>
                    <p:cNvPr id="96" name="Forma libre: forma 8">
                      <a:extLst>
                        <a:ext uri="{FF2B5EF4-FFF2-40B4-BE49-F238E27FC236}">
                          <a16:creationId xmlns:a16="http://schemas.microsoft.com/office/drawing/2014/main" id="{7D79B707-CAC1-987F-19B2-1E9278121D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106514" y="2132199"/>
                      <a:ext cx="2112199" cy="1305216"/>
                    </a:xfrm>
                    <a:custGeom>
                      <a:avLst/>
                      <a:gdLst>
                        <a:gd name="connsiteX0" fmla="*/ 2112199 w 2112199"/>
                        <a:gd name="connsiteY0" fmla="*/ 1305216 h 1305216"/>
                        <a:gd name="connsiteX1" fmla="*/ 1806658 w 2112199"/>
                        <a:gd name="connsiteY1" fmla="*/ 1305216 h 1305216"/>
                        <a:gd name="connsiteX2" fmla="*/ 1806658 w 2112199"/>
                        <a:gd name="connsiteY2" fmla="*/ 242771 h 1305216"/>
                        <a:gd name="connsiteX3" fmla="*/ 1681703 w 2112199"/>
                        <a:gd name="connsiteY3" fmla="*/ 117816 h 1305216"/>
                        <a:gd name="connsiteX4" fmla="*/ 242771 w 2112199"/>
                        <a:gd name="connsiteY4" fmla="*/ 117816 h 1305216"/>
                        <a:gd name="connsiteX5" fmla="*/ 117815 w 2112199"/>
                        <a:gd name="connsiteY5" fmla="*/ 242771 h 1305216"/>
                        <a:gd name="connsiteX6" fmla="*/ 117815 w 2112199"/>
                        <a:gd name="connsiteY6" fmla="*/ 994536 h 1305216"/>
                        <a:gd name="connsiteX7" fmla="*/ 0 w 2112199"/>
                        <a:gd name="connsiteY7" fmla="*/ 994536 h 1305216"/>
                        <a:gd name="connsiteX8" fmla="*/ 0 w 2112199"/>
                        <a:gd name="connsiteY8" fmla="*/ 242771 h 1305216"/>
                        <a:gd name="connsiteX9" fmla="*/ 242771 w 2112199"/>
                        <a:gd name="connsiteY9" fmla="*/ 0 h 1305216"/>
                        <a:gd name="connsiteX10" fmla="*/ 1681703 w 2112199"/>
                        <a:gd name="connsiteY10" fmla="*/ 0 h 1305216"/>
                        <a:gd name="connsiteX11" fmla="*/ 1924474 w 2112199"/>
                        <a:gd name="connsiteY11" fmla="*/ 242771 h 1305216"/>
                        <a:gd name="connsiteX12" fmla="*/ 1924474 w 2112199"/>
                        <a:gd name="connsiteY12" fmla="*/ 1187435 h 1305216"/>
                        <a:gd name="connsiteX13" fmla="*/ 2112199 w 2112199"/>
                        <a:gd name="connsiteY13" fmla="*/ 1187435 h 1305216"/>
                        <a:gd name="connsiteX14" fmla="*/ 2112199 w 2112199"/>
                        <a:gd name="connsiteY14" fmla="*/ 1305216 h 130521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</a:cxnLst>
                      <a:rect l="l" t="t" r="r" b="b"/>
                      <a:pathLst>
                        <a:path w="2112199" h="1305216">
                          <a:moveTo>
                            <a:pt x="2112199" y="1305216"/>
                          </a:moveTo>
                          <a:lnTo>
                            <a:pt x="1806658" y="1305216"/>
                          </a:lnTo>
                          <a:lnTo>
                            <a:pt x="1806658" y="242771"/>
                          </a:lnTo>
                          <a:cubicBezTo>
                            <a:pt x="1806658" y="173861"/>
                            <a:pt x="1750612" y="117816"/>
                            <a:pt x="1681703" y="117816"/>
                          </a:cubicBezTo>
                          <a:lnTo>
                            <a:pt x="242771" y="117816"/>
                          </a:lnTo>
                          <a:cubicBezTo>
                            <a:pt x="173861" y="117816"/>
                            <a:pt x="117815" y="173861"/>
                            <a:pt x="117815" y="242771"/>
                          </a:cubicBezTo>
                          <a:lnTo>
                            <a:pt x="117815" y="994536"/>
                          </a:lnTo>
                          <a:lnTo>
                            <a:pt x="0" y="994536"/>
                          </a:lnTo>
                          <a:lnTo>
                            <a:pt x="0" y="242771"/>
                          </a:lnTo>
                          <a:cubicBezTo>
                            <a:pt x="0" y="108917"/>
                            <a:pt x="108917" y="0"/>
                            <a:pt x="242771" y="0"/>
                          </a:cubicBezTo>
                          <a:lnTo>
                            <a:pt x="1681703" y="0"/>
                          </a:lnTo>
                          <a:cubicBezTo>
                            <a:pt x="1815556" y="0"/>
                            <a:pt x="1924474" y="108883"/>
                            <a:pt x="1924474" y="242771"/>
                          </a:cubicBezTo>
                          <a:lnTo>
                            <a:pt x="1924474" y="1187435"/>
                          </a:lnTo>
                          <a:lnTo>
                            <a:pt x="2112199" y="1187435"/>
                          </a:lnTo>
                          <a:lnTo>
                            <a:pt x="2112199" y="1305216"/>
                          </a:lnTo>
                          <a:close/>
                        </a:path>
                      </a:pathLst>
                    </a:custGeom>
                    <a:solidFill>
                      <a:schemeClr val="tx2"/>
                    </a:solidFill>
                    <a:ln w="344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s-ES"/>
                    </a:p>
                  </p:txBody>
                </p:sp>
                <p:sp>
                  <p:nvSpPr>
                    <p:cNvPr id="97" name="Forma libre: forma 9">
                      <a:extLst>
                        <a:ext uri="{FF2B5EF4-FFF2-40B4-BE49-F238E27FC236}">
                          <a16:creationId xmlns:a16="http://schemas.microsoft.com/office/drawing/2014/main" id="{87005686-55DA-7A3D-B674-FF0F84CE5A6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106548" y="3321358"/>
                      <a:ext cx="1924473" cy="1405925"/>
                    </a:xfrm>
                    <a:custGeom>
                      <a:avLst/>
                      <a:gdLst>
                        <a:gd name="connsiteX0" fmla="*/ 1681703 w 1924473"/>
                        <a:gd name="connsiteY0" fmla="*/ 1405925 h 1405925"/>
                        <a:gd name="connsiteX1" fmla="*/ 242771 w 1924473"/>
                        <a:gd name="connsiteY1" fmla="*/ 1405925 h 1405925"/>
                        <a:gd name="connsiteX2" fmla="*/ 0 w 1924473"/>
                        <a:gd name="connsiteY2" fmla="*/ 1163155 h 1405925"/>
                        <a:gd name="connsiteX3" fmla="*/ 0 w 1924473"/>
                        <a:gd name="connsiteY3" fmla="*/ 0 h 1405925"/>
                        <a:gd name="connsiteX4" fmla="*/ 117815 w 1924473"/>
                        <a:gd name="connsiteY4" fmla="*/ 0 h 1405925"/>
                        <a:gd name="connsiteX5" fmla="*/ 117815 w 1924473"/>
                        <a:gd name="connsiteY5" fmla="*/ 1163189 h 1405925"/>
                        <a:gd name="connsiteX6" fmla="*/ 242771 w 1924473"/>
                        <a:gd name="connsiteY6" fmla="*/ 1288144 h 1405925"/>
                        <a:gd name="connsiteX7" fmla="*/ 1681703 w 1924473"/>
                        <a:gd name="connsiteY7" fmla="*/ 1288144 h 1405925"/>
                        <a:gd name="connsiteX8" fmla="*/ 1806658 w 1924473"/>
                        <a:gd name="connsiteY8" fmla="*/ 1163189 h 1405925"/>
                        <a:gd name="connsiteX9" fmla="*/ 1806658 w 1924473"/>
                        <a:gd name="connsiteY9" fmla="*/ 284951 h 1405925"/>
                        <a:gd name="connsiteX10" fmla="*/ 1924474 w 1924473"/>
                        <a:gd name="connsiteY10" fmla="*/ 284951 h 1405925"/>
                        <a:gd name="connsiteX11" fmla="*/ 1924474 w 1924473"/>
                        <a:gd name="connsiteY11" fmla="*/ 1163189 h 1405925"/>
                        <a:gd name="connsiteX12" fmla="*/ 1681703 w 1924473"/>
                        <a:gd name="connsiteY12" fmla="*/ 1405925 h 14059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1924473" h="1405925">
                          <a:moveTo>
                            <a:pt x="1681703" y="1405925"/>
                          </a:moveTo>
                          <a:lnTo>
                            <a:pt x="242771" y="1405925"/>
                          </a:lnTo>
                          <a:cubicBezTo>
                            <a:pt x="108917" y="1405925"/>
                            <a:pt x="0" y="1297042"/>
                            <a:pt x="0" y="1163155"/>
                          </a:cubicBezTo>
                          <a:lnTo>
                            <a:pt x="0" y="0"/>
                          </a:lnTo>
                          <a:lnTo>
                            <a:pt x="117815" y="0"/>
                          </a:lnTo>
                          <a:lnTo>
                            <a:pt x="117815" y="1163189"/>
                          </a:lnTo>
                          <a:cubicBezTo>
                            <a:pt x="117815" y="1232099"/>
                            <a:pt x="173861" y="1288144"/>
                            <a:pt x="242771" y="1288144"/>
                          </a:cubicBezTo>
                          <a:lnTo>
                            <a:pt x="1681703" y="1288144"/>
                          </a:lnTo>
                          <a:cubicBezTo>
                            <a:pt x="1750612" y="1288144"/>
                            <a:pt x="1806658" y="1232099"/>
                            <a:pt x="1806658" y="1163189"/>
                          </a:cubicBezTo>
                          <a:lnTo>
                            <a:pt x="1806658" y="284951"/>
                          </a:lnTo>
                          <a:lnTo>
                            <a:pt x="1924474" y="284951"/>
                          </a:lnTo>
                          <a:lnTo>
                            <a:pt x="1924474" y="1163189"/>
                          </a:lnTo>
                          <a:cubicBezTo>
                            <a:pt x="1924439" y="1297042"/>
                            <a:pt x="1815556" y="1405925"/>
                            <a:pt x="1681703" y="1405925"/>
                          </a:cubicBezTo>
                          <a:close/>
                        </a:path>
                      </a:pathLst>
                    </a:custGeom>
                    <a:solidFill>
                      <a:schemeClr val="tx2"/>
                    </a:solidFill>
                    <a:ln w="344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s-ES"/>
                    </a:p>
                  </p:txBody>
                </p:sp>
                <p:sp>
                  <p:nvSpPr>
                    <p:cNvPr id="98" name="Forma libre: forma 10">
                      <a:extLst>
                        <a:ext uri="{FF2B5EF4-FFF2-40B4-BE49-F238E27FC236}">
                          <a16:creationId xmlns:a16="http://schemas.microsoft.com/office/drawing/2014/main" id="{97E62D55-6ABA-8BFA-E872-E6F4F0CD0DE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59805" y="2132199"/>
                      <a:ext cx="2112199" cy="1305216"/>
                    </a:xfrm>
                    <a:custGeom>
                      <a:avLst/>
                      <a:gdLst>
                        <a:gd name="connsiteX0" fmla="*/ 2112199 w 2112199"/>
                        <a:gd name="connsiteY0" fmla="*/ 1305216 h 1305216"/>
                        <a:gd name="connsiteX1" fmla="*/ 1806658 w 2112199"/>
                        <a:gd name="connsiteY1" fmla="*/ 1305216 h 1305216"/>
                        <a:gd name="connsiteX2" fmla="*/ 1806658 w 2112199"/>
                        <a:gd name="connsiteY2" fmla="*/ 242771 h 1305216"/>
                        <a:gd name="connsiteX3" fmla="*/ 1681703 w 2112199"/>
                        <a:gd name="connsiteY3" fmla="*/ 117816 h 1305216"/>
                        <a:gd name="connsiteX4" fmla="*/ 242771 w 2112199"/>
                        <a:gd name="connsiteY4" fmla="*/ 117816 h 1305216"/>
                        <a:gd name="connsiteX5" fmla="*/ 117816 w 2112199"/>
                        <a:gd name="connsiteY5" fmla="*/ 242771 h 1305216"/>
                        <a:gd name="connsiteX6" fmla="*/ 117816 w 2112199"/>
                        <a:gd name="connsiteY6" fmla="*/ 994536 h 1305216"/>
                        <a:gd name="connsiteX7" fmla="*/ 0 w 2112199"/>
                        <a:gd name="connsiteY7" fmla="*/ 994536 h 1305216"/>
                        <a:gd name="connsiteX8" fmla="*/ 0 w 2112199"/>
                        <a:gd name="connsiteY8" fmla="*/ 242771 h 1305216"/>
                        <a:gd name="connsiteX9" fmla="*/ 242736 w 2112199"/>
                        <a:gd name="connsiteY9" fmla="*/ 0 h 1305216"/>
                        <a:gd name="connsiteX10" fmla="*/ 1681669 w 2112199"/>
                        <a:gd name="connsiteY10" fmla="*/ 0 h 1305216"/>
                        <a:gd name="connsiteX11" fmla="*/ 1924405 w 2112199"/>
                        <a:gd name="connsiteY11" fmla="*/ 242771 h 1305216"/>
                        <a:gd name="connsiteX12" fmla="*/ 1924405 w 2112199"/>
                        <a:gd name="connsiteY12" fmla="*/ 1187435 h 1305216"/>
                        <a:gd name="connsiteX13" fmla="*/ 2112130 w 2112199"/>
                        <a:gd name="connsiteY13" fmla="*/ 1187435 h 1305216"/>
                        <a:gd name="connsiteX14" fmla="*/ 2112130 w 2112199"/>
                        <a:gd name="connsiteY14" fmla="*/ 1305216 h 130521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</a:cxnLst>
                      <a:rect l="l" t="t" r="r" b="b"/>
                      <a:pathLst>
                        <a:path w="2112199" h="1305216">
                          <a:moveTo>
                            <a:pt x="2112199" y="1305216"/>
                          </a:moveTo>
                          <a:lnTo>
                            <a:pt x="1806658" y="1305216"/>
                          </a:lnTo>
                          <a:lnTo>
                            <a:pt x="1806658" y="242771"/>
                          </a:lnTo>
                          <a:cubicBezTo>
                            <a:pt x="1806658" y="173861"/>
                            <a:pt x="1750613" y="117816"/>
                            <a:pt x="1681703" y="117816"/>
                          </a:cubicBezTo>
                          <a:lnTo>
                            <a:pt x="242771" y="117816"/>
                          </a:lnTo>
                          <a:cubicBezTo>
                            <a:pt x="173861" y="117816"/>
                            <a:pt x="117816" y="173861"/>
                            <a:pt x="117816" y="242771"/>
                          </a:cubicBezTo>
                          <a:lnTo>
                            <a:pt x="117816" y="994536"/>
                          </a:lnTo>
                          <a:lnTo>
                            <a:pt x="0" y="994536"/>
                          </a:lnTo>
                          <a:lnTo>
                            <a:pt x="0" y="242771"/>
                          </a:lnTo>
                          <a:cubicBezTo>
                            <a:pt x="0" y="108917"/>
                            <a:pt x="108883" y="0"/>
                            <a:pt x="242736" y="0"/>
                          </a:cubicBezTo>
                          <a:lnTo>
                            <a:pt x="1681669" y="0"/>
                          </a:lnTo>
                          <a:cubicBezTo>
                            <a:pt x="1815521" y="0"/>
                            <a:pt x="1924405" y="108883"/>
                            <a:pt x="1924405" y="242771"/>
                          </a:cubicBezTo>
                          <a:lnTo>
                            <a:pt x="1924405" y="1187435"/>
                          </a:lnTo>
                          <a:lnTo>
                            <a:pt x="2112130" y="1187435"/>
                          </a:lnTo>
                          <a:lnTo>
                            <a:pt x="2112130" y="1305216"/>
                          </a:lnTo>
                          <a:close/>
                        </a:path>
                      </a:pathLst>
                    </a:custGeom>
                    <a:solidFill>
                      <a:schemeClr val="tx2"/>
                    </a:solidFill>
                    <a:ln w="344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s-ES"/>
                    </a:p>
                  </p:txBody>
                </p:sp>
                <p:sp>
                  <p:nvSpPr>
                    <p:cNvPr id="99" name="Forma libre: forma 11">
                      <a:extLst>
                        <a:ext uri="{FF2B5EF4-FFF2-40B4-BE49-F238E27FC236}">
                          <a16:creationId xmlns:a16="http://schemas.microsoft.com/office/drawing/2014/main" id="{8F5E46A2-2C1A-AD6B-3E3E-2A6B3F881C2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59839" y="3321358"/>
                      <a:ext cx="1924473" cy="1405925"/>
                    </a:xfrm>
                    <a:custGeom>
                      <a:avLst/>
                      <a:gdLst>
                        <a:gd name="connsiteX0" fmla="*/ 1681669 w 1924473"/>
                        <a:gd name="connsiteY0" fmla="*/ 1405925 h 1405925"/>
                        <a:gd name="connsiteX1" fmla="*/ 242736 w 1924473"/>
                        <a:gd name="connsiteY1" fmla="*/ 1405925 h 1405925"/>
                        <a:gd name="connsiteX2" fmla="*/ 0 w 1924473"/>
                        <a:gd name="connsiteY2" fmla="*/ 1163155 h 1405925"/>
                        <a:gd name="connsiteX3" fmla="*/ 0 w 1924473"/>
                        <a:gd name="connsiteY3" fmla="*/ 0 h 1405925"/>
                        <a:gd name="connsiteX4" fmla="*/ 117816 w 1924473"/>
                        <a:gd name="connsiteY4" fmla="*/ 0 h 1405925"/>
                        <a:gd name="connsiteX5" fmla="*/ 117816 w 1924473"/>
                        <a:gd name="connsiteY5" fmla="*/ 1163189 h 1405925"/>
                        <a:gd name="connsiteX6" fmla="*/ 242771 w 1924473"/>
                        <a:gd name="connsiteY6" fmla="*/ 1288144 h 1405925"/>
                        <a:gd name="connsiteX7" fmla="*/ 1681703 w 1924473"/>
                        <a:gd name="connsiteY7" fmla="*/ 1288144 h 1405925"/>
                        <a:gd name="connsiteX8" fmla="*/ 1806658 w 1924473"/>
                        <a:gd name="connsiteY8" fmla="*/ 1163189 h 1405925"/>
                        <a:gd name="connsiteX9" fmla="*/ 1806658 w 1924473"/>
                        <a:gd name="connsiteY9" fmla="*/ 284951 h 1405925"/>
                        <a:gd name="connsiteX10" fmla="*/ 1924474 w 1924473"/>
                        <a:gd name="connsiteY10" fmla="*/ 284951 h 1405925"/>
                        <a:gd name="connsiteX11" fmla="*/ 1924474 w 1924473"/>
                        <a:gd name="connsiteY11" fmla="*/ 1163189 h 1405925"/>
                        <a:gd name="connsiteX12" fmla="*/ 1681669 w 1924473"/>
                        <a:gd name="connsiteY12" fmla="*/ 1405925 h 14059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1924473" h="1405925">
                          <a:moveTo>
                            <a:pt x="1681669" y="1405925"/>
                          </a:moveTo>
                          <a:lnTo>
                            <a:pt x="242736" y="1405925"/>
                          </a:lnTo>
                          <a:cubicBezTo>
                            <a:pt x="108883" y="1405925"/>
                            <a:pt x="0" y="1297042"/>
                            <a:pt x="0" y="1163155"/>
                          </a:cubicBezTo>
                          <a:lnTo>
                            <a:pt x="0" y="0"/>
                          </a:lnTo>
                          <a:lnTo>
                            <a:pt x="117816" y="0"/>
                          </a:lnTo>
                          <a:lnTo>
                            <a:pt x="117816" y="1163189"/>
                          </a:lnTo>
                          <a:cubicBezTo>
                            <a:pt x="117816" y="1232099"/>
                            <a:pt x="173861" y="1288144"/>
                            <a:pt x="242771" y="1288144"/>
                          </a:cubicBezTo>
                          <a:lnTo>
                            <a:pt x="1681703" y="1288144"/>
                          </a:lnTo>
                          <a:cubicBezTo>
                            <a:pt x="1750613" y="1288144"/>
                            <a:pt x="1806658" y="1232099"/>
                            <a:pt x="1806658" y="1163189"/>
                          </a:cubicBezTo>
                          <a:lnTo>
                            <a:pt x="1806658" y="284951"/>
                          </a:lnTo>
                          <a:lnTo>
                            <a:pt x="1924474" y="284951"/>
                          </a:lnTo>
                          <a:lnTo>
                            <a:pt x="1924474" y="1163189"/>
                          </a:lnTo>
                          <a:cubicBezTo>
                            <a:pt x="1924439" y="1297042"/>
                            <a:pt x="1815521" y="1405925"/>
                            <a:pt x="1681669" y="1405925"/>
                          </a:cubicBezTo>
                          <a:close/>
                        </a:path>
                      </a:pathLst>
                    </a:custGeom>
                    <a:solidFill>
                      <a:schemeClr val="tx2"/>
                    </a:solidFill>
                    <a:ln w="344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s-ES"/>
                    </a:p>
                  </p:txBody>
                </p:sp>
                <p:sp>
                  <p:nvSpPr>
                    <p:cNvPr id="100" name="Forma libre: forma 12">
                      <a:extLst>
                        <a:ext uri="{FF2B5EF4-FFF2-40B4-BE49-F238E27FC236}">
                          <a16:creationId xmlns:a16="http://schemas.microsoft.com/office/drawing/2014/main" id="{0C03351E-E152-A9EE-70F3-0771598F98C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213097" y="2132199"/>
                      <a:ext cx="2112199" cy="1305216"/>
                    </a:xfrm>
                    <a:custGeom>
                      <a:avLst/>
                      <a:gdLst>
                        <a:gd name="connsiteX0" fmla="*/ 2112199 w 2112199"/>
                        <a:gd name="connsiteY0" fmla="*/ 1305216 h 1305216"/>
                        <a:gd name="connsiteX1" fmla="*/ 1806657 w 2112199"/>
                        <a:gd name="connsiteY1" fmla="*/ 1305216 h 1305216"/>
                        <a:gd name="connsiteX2" fmla="*/ 1806657 w 2112199"/>
                        <a:gd name="connsiteY2" fmla="*/ 242771 h 1305216"/>
                        <a:gd name="connsiteX3" fmla="*/ 1681702 w 2112199"/>
                        <a:gd name="connsiteY3" fmla="*/ 117816 h 1305216"/>
                        <a:gd name="connsiteX4" fmla="*/ 242770 w 2112199"/>
                        <a:gd name="connsiteY4" fmla="*/ 117816 h 1305216"/>
                        <a:gd name="connsiteX5" fmla="*/ 117815 w 2112199"/>
                        <a:gd name="connsiteY5" fmla="*/ 242771 h 1305216"/>
                        <a:gd name="connsiteX6" fmla="*/ 117815 w 2112199"/>
                        <a:gd name="connsiteY6" fmla="*/ 994536 h 1305216"/>
                        <a:gd name="connsiteX7" fmla="*/ 0 w 2112199"/>
                        <a:gd name="connsiteY7" fmla="*/ 994536 h 1305216"/>
                        <a:gd name="connsiteX8" fmla="*/ 0 w 2112199"/>
                        <a:gd name="connsiteY8" fmla="*/ 242771 h 1305216"/>
                        <a:gd name="connsiteX9" fmla="*/ 242770 w 2112199"/>
                        <a:gd name="connsiteY9" fmla="*/ 0 h 1305216"/>
                        <a:gd name="connsiteX10" fmla="*/ 1681702 w 2112199"/>
                        <a:gd name="connsiteY10" fmla="*/ 0 h 1305216"/>
                        <a:gd name="connsiteX11" fmla="*/ 1924474 w 2112199"/>
                        <a:gd name="connsiteY11" fmla="*/ 242771 h 1305216"/>
                        <a:gd name="connsiteX12" fmla="*/ 1924474 w 2112199"/>
                        <a:gd name="connsiteY12" fmla="*/ 1187435 h 1305216"/>
                        <a:gd name="connsiteX13" fmla="*/ 2112199 w 2112199"/>
                        <a:gd name="connsiteY13" fmla="*/ 1187435 h 1305216"/>
                        <a:gd name="connsiteX14" fmla="*/ 2112199 w 2112199"/>
                        <a:gd name="connsiteY14" fmla="*/ 1305216 h 130521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</a:cxnLst>
                      <a:rect l="l" t="t" r="r" b="b"/>
                      <a:pathLst>
                        <a:path w="2112199" h="1305216">
                          <a:moveTo>
                            <a:pt x="2112199" y="1305216"/>
                          </a:moveTo>
                          <a:lnTo>
                            <a:pt x="1806657" y="1305216"/>
                          </a:lnTo>
                          <a:lnTo>
                            <a:pt x="1806657" y="242771"/>
                          </a:lnTo>
                          <a:cubicBezTo>
                            <a:pt x="1806657" y="173861"/>
                            <a:pt x="1750612" y="117816"/>
                            <a:pt x="1681702" y="117816"/>
                          </a:cubicBezTo>
                          <a:lnTo>
                            <a:pt x="242770" y="117816"/>
                          </a:lnTo>
                          <a:cubicBezTo>
                            <a:pt x="173861" y="117816"/>
                            <a:pt x="117815" y="173861"/>
                            <a:pt x="117815" y="242771"/>
                          </a:cubicBezTo>
                          <a:lnTo>
                            <a:pt x="117815" y="994536"/>
                          </a:lnTo>
                          <a:lnTo>
                            <a:pt x="0" y="994536"/>
                          </a:lnTo>
                          <a:lnTo>
                            <a:pt x="0" y="242771"/>
                          </a:lnTo>
                          <a:cubicBezTo>
                            <a:pt x="0" y="108917"/>
                            <a:pt x="108917" y="0"/>
                            <a:pt x="242770" y="0"/>
                          </a:cubicBezTo>
                          <a:lnTo>
                            <a:pt x="1681702" y="0"/>
                          </a:lnTo>
                          <a:cubicBezTo>
                            <a:pt x="1815556" y="0"/>
                            <a:pt x="1924474" y="108883"/>
                            <a:pt x="1924474" y="242771"/>
                          </a:cubicBezTo>
                          <a:lnTo>
                            <a:pt x="1924474" y="1187435"/>
                          </a:lnTo>
                          <a:lnTo>
                            <a:pt x="2112199" y="1187435"/>
                          </a:lnTo>
                          <a:lnTo>
                            <a:pt x="2112199" y="1305216"/>
                          </a:lnTo>
                          <a:close/>
                        </a:path>
                      </a:pathLst>
                    </a:custGeom>
                    <a:solidFill>
                      <a:schemeClr val="tx2"/>
                    </a:solidFill>
                    <a:ln w="344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s-ES"/>
                    </a:p>
                  </p:txBody>
                </p:sp>
                <p:sp>
                  <p:nvSpPr>
                    <p:cNvPr id="101" name="Forma libre: forma 13">
                      <a:extLst>
                        <a:ext uri="{FF2B5EF4-FFF2-40B4-BE49-F238E27FC236}">
                          <a16:creationId xmlns:a16="http://schemas.microsoft.com/office/drawing/2014/main" id="{40092798-8290-7DF6-E8CA-0BBCBD5B70E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213097" y="3321358"/>
                      <a:ext cx="1924473" cy="1405925"/>
                    </a:xfrm>
                    <a:custGeom>
                      <a:avLst/>
                      <a:gdLst>
                        <a:gd name="connsiteX0" fmla="*/ 1681702 w 1924473"/>
                        <a:gd name="connsiteY0" fmla="*/ 1405925 h 1405925"/>
                        <a:gd name="connsiteX1" fmla="*/ 242770 w 1924473"/>
                        <a:gd name="connsiteY1" fmla="*/ 1405925 h 1405925"/>
                        <a:gd name="connsiteX2" fmla="*/ 0 w 1924473"/>
                        <a:gd name="connsiteY2" fmla="*/ 1163155 h 1405925"/>
                        <a:gd name="connsiteX3" fmla="*/ 0 w 1924473"/>
                        <a:gd name="connsiteY3" fmla="*/ 0 h 1405925"/>
                        <a:gd name="connsiteX4" fmla="*/ 117815 w 1924473"/>
                        <a:gd name="connsiteY4" fmla="*/ 0 h 1405925"/>
                        <a:gd name="connsiteX5" fmla="*/ 117815 w 1924473"/>
                        <a:gd name="connsiteY5" fmla="*/ 1163189 h 1405925"/>
                        <a:gd name="connsiteX6" fmla="*/ 242770 w 1924473"/>
                        <a:gd name="connsiteY6" fmla="*/ 1288144 h 1405925"/>
                        <a:gd name="connsiteX7" fmla="*/ 1681702 w 1924473"/>
                        <a:gd name="connsiteY7" fmla="*/ 1288144 h 1405925"/>
                        <a:gd name="connsiteX8" fmla="*/ 1806657 w 1924473"/>
                        <a:gd name="connsiteY8" fmla="*/ 1163189 h 1405925"/>
                        <a:gd name="connsiteX9" fmla="*/ 1806657 w 1924473"/>
                        <a:gd name="connsiteY9" fmla="*/ 284951 h 1405925"/>
                        <a:gd name="connsiteX10" fmla="*/ 1924474 w 1924473"/>
                        <a:gd name="connsiteY10" fmla="*/ 284951 h 1405925"/>
                        <a:gd name="connsiteX11" fmla="*/ 1924474 w 1924473"/>
                        <a:gd name="connsiteY11" fmla="*/ 1163189 h 1405925"/>
                        <a:gd name="connsiteX12" fmla="*/ 1681702 w 1924473"/>
                        <a:gd name="connsiteY12" fmla="*/ 1405925 h 14059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1924473" h="1405925">
                          <a:moveTo>
                            <a:pt x="1681702" y="1405925"/>
                          </a:moveTo>
                          <a:lnTo>
                            <a:pt x="242770" y="1405925"/>
                          </a:lnTo>
                          <a:cubicBezTo>
                            <a:pt x="108917" y="1405925"/>
                            <a:pt x="0" y="1297042"/>
                            <a:pt x="0" y="1163155"/>
                          </a:cubicBezTo>
                          <a:lnTo>
                            <a:pt x="0" y="0"/>
                          </a:lnTo>
                          <a:lnTo>
                            <a:pt x="117815" y="0"/>
                          </a:lnTo>
                          <a:lnTo>
                            <a:pt x="117815" y="1163189"/>
                          </a:lnTo>
                          <a:cubicBezTo>
                            <a:pt x="117815" y="1232099"/>
                            <a:pt x="173861" y="1288144"/>
                            <a:pt x="242770" y="1288144"/>
                          </a:cubicBezTo>
                          <a:lnTo>
                            <a:pt x="1681702" y="1288144"/>
                          </a:lnTo>
                          <a:cubicBezTo>
                            <a:pt x="1750612" y="1288144"/>
                            <a:pt x="1806657" y="1232099"/>
                            <a:pt x="1806657" y="1163189"/>
                          </a:cubicBezTo>
                          <a:lnTo>
                            <a:pt x="1806657" y="284951"/>
                          </a:lnTo>
                          <a:lnTo>
                            <a:pt x="1924474" y="284951"/>
                          </a:lnTo>
                          <a:lnTo>
                            <a:pt x="1924474" y="1163189"/>
                          </a:lnTo>
                          <a:cubicBezTo>
                            <a:pt x="1924439" y="1297042"/>
                            <a:pt x="1815556" y="1405925"/>
                            <a:pt x="1681702" y="1405925"/>
                          </a:cubicBezTo>
                          <a:close/>
                        </a:path>
                      </a:pathLst>
                    </a:custGeom>
                    <a:solidFill>
                      <a:schemeClr val="tx2"/>
                    </a:solidFill>
                    <a:ln w="344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s-ES"/>
                    </a:p>
                  </p:txBody>
                </p:sp>
              </p:grpSp>
              <p:sp>
                <p:nvSpPr>
                  <p:cNvPr id="88" name="Forma libre: forma 16">
                    <a:extLst>
                      <a:ext uri="{FF2B5EF4-FFF2-40B4-BE49-F238E27FC236}">
                        <a16:creationId xmlns:a16="http://schemas.microsoft.com/office/drawing/2014/main" id="{EF0CA02E-F2EC-84DA-C8C4-2D24378717BC}"/>
                      </a:ext>
                    </a:extLst>
                  </p:cNvPr>
                  <p:cNvSpPr/>
                  <p:nvPr/>
                </p:nvSpPr>
                <p:spPr>
                  <a:xfrm>
                    <a:off x="201659" y="2342377"/>
                    <a:ext cx="1531397" cy="2164485"/>
                  </a:xfrm>
                  <a:custGeom>
                    <a:avLst/>
                    <a:gdLst>
                      <a:gd name="connsiteX0" fmla="*/ 0 w 1531397"/>
                      <a:gd name="connsiteY0" fmla="*/ 2077986 h 2164485"/>
                      <a:gd name="connsiteX1" fmla="*/ 0 w 1531397"/>
                      <a:gd name="connsiteY1" fmla="*/ 86499 h 2164485"/>
                      <a:gd name="connsiteX2" fmla="*/ 86499 w 1531397"/>
                      <a:gd name="connsiteY2" fmla="*/ 0 h 2164485"/>
                      <a:gd name="connsiteX3" fmla="*/ 1444899 w 1531397"/>
                      <a:gd name="connsiteY3" fmla="*/ 0 h 2164485"/>
                      <a:gd name="connsiteX4" fmla="*/ 1531398 w 1531397"/>
                      <a:gd name="connsiteY4" fmla="*/ 86499 h 2164485"/>
                      <a:gd name="connsiteX5" fmla="*/ 1531398 w 1531397"/>
                      <a:gd name="connsiteY5" fmla="*/ 2077986 h 2164485"/>
                      <a:gd name="connsiteX6" fmla="*/ 1444899 w 1531397"/>
                      <a:gd name="connsiteY6" fmla="*/ 2164485 h 2164485"/>
                      <a:gd name="connsiteX7" fmla="*/ 86499 w 1531397"/>
                      <a:gd name="connsiteY7" fmla="*/ 2164485 h 2164485"/>
                      <a:gd name="connsiteX8" fmla="*/ 0 w 1531397"/>
                      <a:gd name="connsiteY8" fmla="*/ 2077986 h 21644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531397" h="2164485">
                        <a:moveTo>
                          <a:pt x="0" y="2077986"/>
                        </a:moveTo>
                        <a:lnTo>
                          <a:pt x="0" y="86499"/>
                        </a:lnTo>
                        <a:cubicBezTo>
                          <a:pt x="0" y="38732"/>
                          <a:pt x="38732" y="0"/>
                          <a:pt x="86499" y="0"/>
                        </a:cubicBezTo>
                        <a:lnTo>
                          <a:pt x="1444899" y="0"/>
                        </a:lnTo>
                        <a:cubicBezTo>
                          <a:pt x="1492666" y="0"/>
                          <a:pt x="1531398" y="38732"/>
                          <a:pt x="1531398" y="86499"/>
                        </a:cubicBezTo>
                        <a:lnTo>
                          <a:pt x="1531398" y="2077986"/>
                        </a:lnTo>
                        <a:cubicBezTo>
                          <a:pt x="1531398" y="2125754"/>
                          <a:pt x="1492666" y="2164485"/>
                          <a:pt x="1444899" y="2164485"/>
                        </a:cubicBezTo>
                        <a:lnTo>
                          <a:pt x="86499" y="2164485"/>
                        </a:lnTo>
                        <a:cubicBezTo>
                          <a:pt x="38732" y="2164485"/>
                          <a:pt x="0" y="2125754"/>
                          <a:pt x="0" y="2077986"/>
                        </a:cubicBezTo>
                        <a:close/>
                      </a:path>
                    </a:pathLst>
                  </a:custGeom>
                  <a:solidFill>
                    <a:schemeClr val="tx2">
                      <a:lumMod val="20000"/>
                      <a:lumOff val="80000"/>
                    </a:schemeClr>
                  </a:solidFill>
                  <a:ln w="34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"/>
                  </a:p>
                </p:txBody>
              </p:sp>
              <p:sp>
                <p:nvSpPr>
                  <p:cNvPr id="89" name="Forma libre: forma 17">
                    <a:extLst>
                      <a:ext uri="{FF2B5EF4-FFF2-40B4-BE49-F238E27FC236}">
                        <a16:creationId xmlns:a16="http://schemas.microsoft.com/office/drawing/2014/main" id="{4A841E11-764B-3A42-14C8-ABF498849830}"/>
                      </a:ext>
                    </a:extLst>
                  </p:cNvPr>
                  <p:cNvSpPr/>
                  <p:nvPr/>
                </p:nvSpPr>
                <p:spPr>
                  <a:xfrm>
                    <a:off x="2249812" y="2347516"/>
                    <a:ext cx="1531397" cy="2164485"/>
                  </a:xfrm>
                  <a:custGeom>
                    <a:avLst/>
                    <a:gdLst>
                      <a:gd name="connsiteX0" fmla="*/ 0 w 1531397"/>
                      <a:gd name="connsiteY0" fmla="*/ 2077986 h 2164485"/>
                      <a:gd name="connsiteX1" fmla="*/ 0 w 1531397"/>
                      <a:gd name="connsiteY1" fmla="*/ 86499 h 2164485"/>
                      <a:gd name="connsiteX2" fmla="*/ 86499 w 1531397"/>
                      <a:gd name="connsiteY2" fmla="*/ 0 h 2164485"/>
                      <a:gd name="connsiteX3" fmla="*/ 1444899 w 1531397"/>
                      <a:gd name="connsiteY3" fmla="*/ 0 h 2164485"/>
                      <a:gd name="connsiteX4" fmla="*/ 1531398 w 1531397"/>
                      <a:gd name="connsiteY4" fmla="*/ 86499 h 2164485"/>
                      <a:gd name="connsiteX5" fmla="*/ 1531398 w 1531397"/>
                      <a:gd name="connsiteY5" fmla="*/ 2077986 h 2164485"/>
                      <a:gd name="connsiteX6" fmla="*/ 1444899 w 1531397"/>
                      <a:gd name="connsiteY6" fmla="*/ 2164485 h 2164485"/>
                      <a:gd name="connsiteX7" fmla="*/ 86499 w 1531397"/>
                      <a:gd name="connsiteY7" fmla="*/ 2164485 h 2164485"/>
                      <a:gd name="connsiteX8" fmla="*/ 0 w 1531397"/>
                      <a:gd name="connsiteY8" fmla="*/ 2077986 h 21644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531397" h="2164485">
                        <a:moveTo>
                          <a:pt x="0" y="2077986"/>
                        </a:moveTo>
                        <a:lnTo>
                          <a:pt x="0" y="86499"/>
                        </a:lnTo>
                        <a:cubicBezTo>
                          <a:pt x="0" y="38732"/>
                          <a:pt x="38732" y="0"/>
                          <a:pt x="86499" y="0"/>
                        </a:cubicBezTo>
                        <a:lnTo>
                          <a:pt x="1444899" y="0"/>
                        </a:lnTo>
                        <a:cubicBezTo>
                          <a:pt x="1492666" y="0"/>
                          <a:pt x="1531398" y="38732"/>
                          <a:pt x="1531398" y="86499"/>
                        </a:cubicBezTo>
                        <a:lnTo>
                          <a:pt x="1531398" y="2077986"/>
                        </a:lnTo>
                        <a:cubicBezTo>
                          <a:pt x="1531398" y="2125754"/>
                          <a:pt x="1492666" y="2164485"/>
                          <a:pt x="1444899" y="2164485"/>
                        </a:cubicBezTo>
                        <a:lnTo>
                          <a:pt x="86499" y="2164485"/>
                        </a:lnTo>
                        <a:cubicBezTo>
                          <a:pt x="38732" y="2164451"/>
                          <a:pt x="0" y="2125754"/>
                          <a:pt x="0" y="2077986"/>
                        </a:cubicBezTo>
                        <a:close/>
                      </a:path>
                    </a:pathLst>
                  </a:custGeom>
                  <a:solidFill>
                    <a:schemeClr val="tx2">
                      <a:lumMod val="20000"/>
                      <a:lumOff val="80000"/>
                    </a:schemeClr>
                  </a:solidFill>
                  <a:ln w="34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"/>
                  </a:p>
                </p:txBody>
              </p:sp>
              <p:sp>
                <p:nvSpPr>
                  <p:cNvPr id="90" name="Forma libre: forma 18">
                    <a:extLst>
                      <a:ext uri="{FF2B5EF4-FFF2-40B4-BE49-F238E27FC236}">
                        <a16:creationId xmlns:a16="http://schemas.microsoft.com/office/drawing/2014/main" id="{864EEE8E-9420-F6FD-5157-370547AB0599}"/>
                      </a:ext>
                    </a:extLst>
                  </p:cNvPr>
                  <p:cNvSpPr/>
                  <p:nvPr/>
                </p:nvSpPr>
                <p:spPr>
                  <a:xfrm>
                    <a:off x="4303103" y="2347516"/>
                    <a:ext cx="1531398" cy="2164485"/>
                  </a:xfrm>
                  <a:custGeom>
                    <a:avLst/>
                    <a:gdLst>
                      <a:gd name="connsiteX0" fmla="*/ 0 w 1531398"/>
                      <a:gd name="connsiteY0" fmla="*/ 2077986 h 2164485"/>
                      <a:gd name="connsiteX1" fmla="*/ 0 w 1531398"/>
                      <a:gd name="connsiteY1" fmla="*/ 86499 h 2164485"/>
                      <a:gd name="connsiteX2" fmla="*/ 86499 w 1531398"/>
                      <a:gd name="connsiteY2" fmla="*/ 0 h 2164485"/>
                      <a:gd name="connsiteX3" fmla="*/ 1444898 w 1531398"/>
                      <a:gd name="connsiteY3" fmla="*/ 0 h 2164485"/>
                      <a:gd name="connsiteX4" fmla="*/ 1531398 w 1531398"/>
                      <a:gd name="connsiteY4" fmla="*/ 86499 h 2164485"/>
                      <a:gd name="connsiteX5" fmla="*/ 1531398 w 1531398"/>
                      <a:gd name="connsiteY5" fmla="*/ 2077986 h 2164485"/>
                      <a:gd name="connsiteX6" fmla="*/ 1444898 w 1531398"/>
                      <a:gd name="connsiteY6" fmla="*/ 2164485 h 2164485"/>
                      <a:gd name="connsiteX7" fmla="*/ 86499 w 1531398"/>
                      <a:gd name="connsiteY7" fmla="*/ 2164485 h 2164485"/>
                      <a:gd name="connsiteX8" fmla="*/ 0 w 1531398"/>
                      <a:gd name="connsiteY8" fmla="*/ 2077986 h 21644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531398" h="2164485">
                        <a:moveTo>
                          <a:pt x="0" y="2077986"/>
                        </a:moveTo>
                        <a:lnTo>
                          <a:pt x="0" y="86499"/>
                        </a:lnTo>
                        <a:cubicBezTo>
                          <a:pt x="0" y="38732"/>
                          <a:pt x="38732" y="0"/>
                          <a:pt x="86499" y="0"/>
                        </a:cubicBezTo>
                        <a:lnTo>
                          <a:pt x="1444898" y="0"/>
                        </a:lnTo>
                        <a:cubicBezTo>
                          <a:pt x="1492666" y="0"/>
                          <a:pt x="1531398" y="38732"/>
                          <a:pt x="1531398" y="86499"/>
                        </a:cubicBezTo>
                        <a:lnTo>
                          <a:pt x="1531398" y="2077986"/>
                        </a:lnTo>
                        <a:cubicBezTo>
                          <a:pt x="1531398" y="2125754"/>
                          <a:pt x="1492666" y="2164485"/>
                          <a:pt x="1444898" y="2164485"/>
                        </a:cubicBezTo>
                        <a:lnTo>
                          <a:pt x="86499" y="2164485"/>
                        </a:lnTo>
                        <a:cubicBezTo>
                          <a:pt x="38697" y="2164451"/>
                          <a:pt x="0" y="2125754"/>
                          <a:pt x="0" y="2077986"/>
                        </a:cubicBezTo>
                        <a:close/>
                      </a:path>
                    </a:pathLst>
                  </a:custGeom>
                  <a:solidFill>
                    <a:schemeClr val="tx2">
                      <a:lumMod val="20000"/>
                      <a:lumOff val="80000"/>
                    </a:schemeClr>
                  </a:solidFill>
                  <a:ln w="34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"/>
                  </a:p>
                </p:txBody>
              </p:sp>
              <p:sp>
                <p:nvSpPr>
                  <p:cNvPr id="91" name="Forma libre: forma 19">
                    <a:extLst>
                      <a:ext uri="{FF2B5EF4-FFF2-40B4-BE49-F238E27FC236}">
                        <a16:creationId xmlns:a16="http://schemas.microsoft.com/office/drawing/2014/main" id="{710B5B9F-4385-8230-BC60-510CF1B665B3}"/>
                      </a:ext>
                    </a:extLst>
                  </p:cNvPr>
                  <p:cNvSpPr/>
                  <p:nvPr/>
                </p:nvSpPr>
                <p:spPr>
                  <a:xfrm>
                    <a:off x="6356360" y="2347516"/>
                    <a:ext cx="1531398" cy="2164485"/>
                  </a:xfrm>
                  <a:custGeom>
                    <a:avLst/>
                    <a:gdLst>
                      <a:gd name="connsiteX0" fmla="*/ 0 w 1531398"/>
                      <a:gd name="connsiteY0" fmla="*/ 2077986 h 2164485"/>
                      <a:gd name="connsiteX1" fmla="*/ 0 w 1531398"/>
                      <a:gd name="connsiteY1" fmla="*/ 86499 h 2164485"/>
                      <a:gd name="connsiteX2" fmla="*/ 86499 w 1531398"/>
                      <a:gd name="connsiteY2" fmla="*/ 0 h 2164485"/>
                      <a:gd name="connsiteX3" fmla="*/ 1444898 w 1531398"/>
                      <a:gd name="connsiteY3" fmla="*/ 0 h 2164485"/>
                      <a:gd name="connsiteX4" fmla="*/ 1531398 w 1531398"/>
                      <a:gd name="connsiteY4" fmla="*/ 86499 h 2164485"/>
                      <a:gd name="connsiteX5" fmla="*/ 1531398 w 1531398"/>
                      <a:gd name="connsiteY5" fmla="*/ 2077986 h 2164485"/>
                      <a:gd name="connsiteX6" fmla="*/ 1444898 w 1531398"/>
                      <a:gd name="connsiteY6" fmla="*/ 2164485 h 2164485"/>
                      <a:gd name="connsiteX7" fmla="*/ 86499 w 1531398"/>
                      <a:gd name="connsiteY7" fmla="*/ 2164485 h 2164485"/>
                      <a:gd name="connsiteX8" fmla="*/ 0 w 1531398"/>
                      <a:gd name="connsiteY8" fmla="*/ 2077986 h 21644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531398" h="2164485">
                        <a:moveTo>
                          <a:pt x="0" y="2077986"/>
                        </a:moveTo>
                        <a:lnTo>
                          <a:pt x="0" y="86499"/>
                        </a:lnTo>
                        <a:cubicBezTo>
                          <a:pt x="0" y="38732"/>
                          <a:pt x="38732" y="0"/>
                          <a:pt x="86499" y="0"/>
                        </a:cubicBezTo>
                        <a:lnTo>
                          <a:pt x="1444898" y="0"/>
                        </a:lnTo>
                        <a:cubicBezTo>
                          <a:pt x="1492667" y="0"/>
                          <a:pt x="1531398" y="38732"/>
                          <a:pt x="1531398" y="86499"/>
                        </a:cubicBezTo>
                        <a:lnTo>
                          <a:pt x="1531398" y="2077986"/>
                        </a:lnTo>
                        <a:cubicBezTo>
                          <a:pt x="1531398" y="2125754"/>
                          <a:pt x="1492667" y="2164485"/>
                          <a:pt x="1444898" y="2164485"/>
                        </a:cubicBezTo>
                        <a:lnTo>
                          <a:pt x="86499" y="2164485"/>
                        </a:lnTo>
                        <a:cubicBezTo>
                          <a:pt x="38732" y="2164451"/>
                          <a:pt x="0" y="2125754"/>
                          <a:pt x="0" y="2077986"/>
                        </a:cubicBezTo>
                        <a:close/>
                      </a:path>
                    </a:pathLst>
                  </a:custGeom>
                  <a:solidFill>
                    <a:schemeClr val="tx2">
                      <a:lumMod val="20000"/>
                      <a:lumOff val="80000"/>
                    </a:schemeClr>
                  </a:solidFill>
                  <a:ln w="34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"/>
                  </a:p>
                </p:txBody>
              </p:sp>
              <p:sp>
                <p:nvSpPr>
                  <p:cNvPr id="92" name="Forma libre: forma 20">
                    <a:extLst>
                      <a:ext uri="{FF2B5EF4-FFF2-40B4-BE49-F238E27FC236}">
                        <a16:creationId xmlns:a16="http://schemas.microsoft.com/office/drawing/2014/main" id="{0B1154F6-538D-D74B-E895-715ABD487A0F}"/>
                      </a:ext>
                    </a:extLst>
                  </p:cNvPr>
                  <p:cNvSpPr/>
                  <p:nvPr/>
                </p:nvSpPr>
                <p:spPr>
                  <a:xfrm>
                    <a:off x="8409652" y="2347516"/>
                    <a:ext cx="1531398" cy="2164485"/>
                  </a:xfrm>
                  <a:custGeom>
                    <a:avLst/>
                    <a:gdLst>
                      <a:gd name="connsiteX0" fmla="*/ 0 w 1531398"/>
                      <a:gd name="connsiteY0" fmla="*/ 2077986 h 2164485"/>
                      <a:gd name="connsiteX1" fmla="*/ 0 w 1531398"/>
                      <a:gd name="connsiteY1" fmla="*/ 86499 h 2164485"/>
                      <a:gd name="connsiteX2" fmla="*/ 86499 w 1531398"/>
                      <a:gd name="connsiteY2" fmla="*/ 0 h 2164485"/>
                      <a:gd name="connsiteX3" fmla="*/ 1444898 w 1531398"/>
                      <a:gd name="connsiteY3" fmla="*/ 0 h 2164485"/>
                      <a:gd name="connsiteX4" fmla="*/ 1531398 w 1531398"/>
                      <a:gd name="connsiteY4" fmla="*/ 86499 h 2164485"/>
                      <a:gd name="connsiteX5" fmla="*/ 1531398 w 1531398"/>
                      <a:gd name="connsiteY5" fmla="*/ 2077986 h 2164485"/>
                      <a:gd name="connsiteX6" fmla="*/ 1444898 w 1531398"/>
                      <a:gd name="connsiteY6" fmla="*/ 2164485 h 2164485"/>
                      <a:gd name="connsiteX7" fmla="*/ 86499 w 1531398"/>
                      <a:gd name="connsiteY7" fmla="*/ 2164485 h 2164485"/>
                      <a:gd name="connsiteX8" fmla="*/ 0 w 1531398"/>
                      <a:gd name="connsiteY8" fmla="*/ 2077986 h 21644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531398" h="2164485">
                        <a:moveTo>
                          <a:pt x="0" y="2077986"/>
                        </a:moveTo>
                        <a:lnTo>
                          <a:pt x="0" y="86499"/>
                        </a:lnTo>
                        <a:cubicBezTo>
                          <a:pt x="0" y="38732"/>
                          <a:pt x="38732" y="0"/>
                          <a:pt x="86499" y="0"/>
                        </a:cubicBezTo>
                        <a:lnTo>
                          <a:pt x="1444898" y="0"/>
                        </a:lnTo>
                        <a:cubicBezTo>
                          <a:pt x="1492667" y="0"/>
                          <a:pt x="1531398" y="38732"/>
                          <a:pt x="1531398" y="86499"/>
                        </a:cubicBezTo>
                        <a:lnTo>
                          <a:pt x="1531398" y="2077986"/>
                        </a:lnTo>
                        <a:cubicBezTo>
                          <a:pt x="1531398" y="2125754"/>
                          <a:pt x="1492667" y="2164485"/>
                          <a:pt x="1444898" y="2164485"/>
                        </a:cubicBezTo>
                        <a:lnTo>
                          <a:pt x="86499" y="2164485"/>
                        </a:lnTo>
                        <a:cubicBezTo>
                          <a:pt x="38697" y="2164451"/>
                          <a:pt x="0" y="2125754"/>
                          <a:pt x="0" y="2077986"/>
                        </a:cubicBezTo>
                        <a:close/>
                      </a:path>
                    </a:pathLst>
                  </a:custGeom>
                  <a:solidFill>
                    <a:schemeClr val="tx2">
                      <a:lumMod val="20000"/>
                      <a:lumOff val="80000"/>
                    </a:schemeClr>
                  </a:solidFill>
                  <a:ln w="34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"/>
                  </a:p>
                </p:txBody>
              </p:sp>
            </p:grpSp>
            <p:sp>
              <p:nvSpPr>
                <p:cNvPr id="82" name="CuadroTexto 81">
                  <a:extLst>
                    <a:ext uri="{FF2B5EF4-FFF2-40B4-BE49-F238E27FC236}">
                      <a16:creationId xmlns:a16="http://schemas.microsoft.com/office/drawing/2014/main" id="{9771B745-7CE8-AA7A-A14D-3BB14422622A}"/>
                    </a:ext>
                  </a:extLst>
                </p:cNvPr>
                <p:cNvSpPr txBox="1"/>
                <p:nvPr/>
              </p:nvSpPr>
              <p:spPr>
                <a:xfrm>
                  <a:off x="370194" y="2738937"/>
                  <a:ext cx="1705314" cy="156966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1600" b="1" dirty="0">
                      <a:solidFill>
                        <a:schemeClr val="tx1">
                          <a:lumMod val="50000"/>
                        </a:schemeClr>
                      </a:solidFill>
                    </a:rPr>
                    <a:t>Classification of documents</a:t>
                  </a:r>
                  <a:r>
                    <a:rPr lang="en-US" sz="1600" dirty="0">
                      <a:solidFill>
                        <a:schemeClr val="tx1">
                          <a:lumMod val="50000"/>
                        </a:schemeClr>
                      </a:solidFill>
                    </a:rPr>
                    <a:t> prior to submission to courts and Public Prosecutor’s Office</a:t>
                  </a:r>
                </a:p>
              </p:txBody>
            </p:sp>
            <p:sp>
              <p:nvSpPr>
                <p:cNvPr id="83" name="CuadroTexto 82">
                  <a:extLst>
                    <a:ext uri="{FF2B5EF4-FFF2-40B4-BE49-F238E27FC236}">
                      <a16:creationId xmlns:a16="http://schemas.microsoft.com/office/drawing/2014/main" id="{EE40E963-1AE3-63FC-9340-B28A09343DA1}"/>
                    </a:ext>
                  </a:extLst>
                </p:cNvPr>
                <p:cNvSpPr txBox="1"/>
                <p:nvPr/>
              </p:nvSpPr>
              <p:spPr>
                <a:xfrm>
                  <a:off x="2575125" y="2738937"/>
                  <a:ext cx="1402637" cy="1323439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1600" b="1">
                      <a:solidFill>
                        <a:schemeClr val="tx1">
                          <a:lumMod val="50000"/>
                        </a:schemeClr>
                      </a:solidFill>
                    </a:rPr>
                    <a:t>Extraction of data and information </a:t>
                  </a:r>
                  <a:r>
                    <a:rPr lang="en-US" sz="1600">
                      <a:solidFill>
                        <a:schemeClr val="tx1">
                          <a:lumMod val="50000"/>
                        </a:schemeClr>
                      </a:solidFill>
                    </a:rPr>
                    <a:t>from documents</a:t>
                  </a:r>
                </a:p>
              </p:txBody>
            </p:sp>
            <p:sp>
              <p:nvSpPr>
                <p:cNvPr id="84" name="CuadroTexto 83">
                  <a:extLst>
                    <a:ext uri="{FF2B5EF4-FFF2-40B4-BE49-F238E27FC236}">
                      <a16:creationId xmlns:a16="http://schemas.microsoft.com/office/drawing/2014/main" id="{FFF5FD6F-9DC3-F483-E20E-F9F306F0C2C6}"/>
                    </a:ext>
                  </a:extLst>
                </p:cNvPr>
                <p:cNvSpPr txBox="1"/>
                <p:nvPr/>
              </p:nvSpPr>
              <p:spPr>
                <a:xfrm>
                  <a:off x="4489772" y="2738937"/>
                  <a:ext cx="1669011" cy="1077218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1600" b="1">
                      <a:solidFill>
                        <a:schemeClr val="tx1">
                          <a:lumMod val="50000"/>
                        </a:schemeClr>
                      </a:solidFill>
                    </a:rPr>
                    <a:t>Virtual agents  </a:t>
                  </a:r>
                  <a:r>
                    <a:rPr lang="en-US" sz="1600">
                      <a:solidFill>
                        <a:schemeClr val="tx1">
                          <a:lumMod val="50000"/>
                        </a:schemeClr>
                      </a:solidFill>
                    </a:rPr>
                    <a:t>that help with routine and repetitive tasks</a:t>
                  </a:r>
                </a:p>
              </p:txBody>
            </p:sp>
            <p:sp>
              <p:nvSpPr>
                <p:cNvPr id="85" name="CuadroTexto 84">
                  <a:extLst>
                    <a:ext uri="{FF2B5EF4-FFF2-40B4-BE49-F238E27FC236}">
                      <a16:creationId xmlns:a16="http://schemas.microsoft.com/office/drawing/2014/main" id="{D1E5023D-DD13-5C8C-7F24-67D4B8C6D705}"/>
                    </a:ext>
                  </a:extLst>
                </p:cNvPr>
                <p:cNvSpPr txBox="1"/>
                <p:nvPr/>
              </p:nvSpPr>
              <p:spPr>
                <a:xfrm>
                  <a:off x="6544049" y="2728733"/>
                  <a:ext cx="1642166" cy="830997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1600" b="1">
                      <a:solidFill>
                        <a:schemeClr val="tx1">
                          <a:lumMod val="50000"/>
                        </a:schemeClr>
                      </a:solidFill>
                    </a:rPr>
                    <a:t>Summary and anonymisation</a:t>
                  </a:r>
                  <a:r>
                    <a:rPr lang="en-US" sz="1600">
                      <a:solidFill>
                        <a:schemeClr val="tx1">
                          <a:lumMod val="50000"/>
                        </a:schemeClr>
                      </a:solidFill>
                    </a:rPr>
                    <a:t> of documents</a:t>
                  </a:r>
                </a:p>
              </p:txBody>
            </p:sp>
            <p:sp>
              <p:nvSpPr>
                <p:cNvPr id="86" name="CuadroTexto 85">
                  <a:extLst>
                    <a:ext uri="{FF2B5EF4-FFF2-40B4-BE49-F238E27FC236}">
                      <a16:creationId xmlns:a16="http://schemas.microsoft.com/office/drawing/2014/main" id="{8A1AD466-0554-A2F3-CADF-116248F9A3EA}"/>
                    </a:ext>
                  </a:extLst>
                </p:cNvPr>
                <p:cNvSpPr txBox="1"/>
                <p:nvPr/>
              </p:nvSpPr>
              <p:spPr>
                <a:xfrm>
                  <a:off x="8570461" y="2718937"/>
                  <a:ext cx="1720731" cy="175432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1600" b="1">
                      <a:solidFill>
                        <a:schemeClr val="tx1">
                          <a:lumMod val="50000"/>
                        </a:schemeClr>
                      </a:solidFill>
                    </a:rPr>
                    <a:t>Weekly publication </a:t>
                  </a:r>
                </a:p>
                <a:p>
                  <a:pPr algn="ctr"/>
                  <a:r>
                    <a:rPr lang="en-US" sz="1600" b="1">
                      <a:solidFill>
                        <a:schemeClr val="tx1">
                          <a:lumMod val="50000"/>
                        </a:schemeClr>
                      </a:solidFill>
                    </a:rPr>
                    <a:t>of FAT records</a:t>
                  </a:r>
                </a:p>
                <a:p>
                  <a:pPr algn="ctr"/>
                  <a:r>
                    <a:rPr lang="en-US" sz="1200">
                      <a:solidFill>
                        <a:schemeClr val="tx1">
                          <a:lumMod val="50000"/>
                        </a:schemeClr>
                      </a:solidFill>
                    </a:rPr>
                    <a:t>(Fairness, Accuracy, Transparency) </a:t>
                  </a:r>
                  <a:endParaRPr lang="en-US" sz="1600">
                    <a:solidFill>
                      <a:schemeClr val="tx1">
                        <a:lumMod val="50000"/>
                      </a:schemeClr>
                    </a:solidFill>
                  </a:endParaRPr>
                </a:p>
                <a:p>
                  <a:pPr algn="ctr"/>
                  <a:r>
                    <a:rPr lang="en-US" sz="1600">
                      <a:solidFill>
                        <a:schemeClr val="tx1">
                          <a:lumMod val="50000"/>
                        </a:schemeClr>
                      </a:solidFill>
                    </a:rPr>
                    <a:t>to ensure an ethical use of AI</a:t>
                  </a:r>
                  <a:endParaRPr lang="es-ES" sz="1600">
                    <a:solidFill>
                      <a:schemeClr val="tx1">
                        <a:lumMod val="50000"/>
                      </a:schemeClr>
                    </a:solidFill>
                  </a:endParaRPr>
                </a:p>
              </p:txBody>
            </p:sp>
          </p:grpSp>
          <p:sp>
            <p:nvSpPr>
              <p:cNvPr id="75" name="Elipse 74">
                <a:extLst>
                  <a:ext uri="{FF2B5EF4-FFF2-40B4-BE49-F238E27FC236}">
                    <a16:creationId xmlns:a16="http://schemas.microsoft.com/office/drawing/2014/main" id="{3DF7EE53-C33A-19B9-4DF6-4484A21F4F57}"/>
                  </a:ext>
                </a:extLst>
              </p:cNvPr>
              <p:cNvSpPr/>
              <p:nvPr/>
            </p:nvSpPr>
            <p:spPr>
              <a:xfrm>
                <a:off x="1270405" y="2216154"/>
                <a:ext cx="1179575" cy="114300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_tradnl"/>
              </a:p>
            </p:txBody>
          </p:sp>
          <p:sp>
            <p:nvSpPr>
              <p:cNvPr id="76" name="Elipse 75">
                <a:extLst>
                  <a:ext uri="{FF2B5EF4-FFF2-40B4-BE49-F238E27FC236}">
                    <a16:creationId xmlns:a16="http://schemas.microsoft.com/office/drawing/2014/main" id="{F183318F-8768-35CF-496E-6FA6F25DD589}"/>
                  </a:ext>
                </a:extLst>
              </p:cNvPr>
              <p:cNvSpPr/>
              <p:nvPr/>
            </p:nvSpPr>
            <p:spPr>
              <a:xfrm>
                <a:off x="3343935" y="2221645"/>
                <a:ext cx="1179575" cy="114300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_tradnl"/>
              </a:p>
            </p:txBody>
          </p:sp>
          <p:sp>
            <p:nvSpPr>
              <p:cNvPr id="78" name="Elipse 77">
                <a:extLst>
                  <a:ext uri="{FF2B5EF4-FFF2-40B4-BE49-F238E27FC236}">
                    <a16:creationId xmlns:a16="http://schemas.microsoft.com/office/drawing/2014/main" id="{03DBAB05-D919-0269-9258-3E9EF4A731CF}"/>
                  </a:ext>
                </a:extLst>
              </p:cNvPr>
              <p:cNvSpPr/>
              <p:nvPr/>
            </p:nvSpPr>
            <p:spPr>
              <a:xfrm>
                <a:off x="5403870" y="2212384"/>
                <a:ext cx="1179575" cy="114300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_tradnl"/>
              </a:p>
            </p:txBody>
          </p:sp>
          <p:sp>
            <p:nvSpPr>
              <p:cNvPr id="79" name="Elipse 78">
                <a:extLst>
                  <a:ext uri="{FF2B5EF4-FFF2-40B4-BE49-F238E27FC236}">
                    <a16:creationId xmlns:a16="http://schemas.microsoft.com/office/drawing/2014/main" id="{373F42C8-DE3C-5898-3067-BF390228427D}"/>
                  </a:ext>
                </a:extLst>
              </p:cNvPr>
              <p:cNvSpPr/>
              <p:nvPr/>
            </p:nvSpPr>
            <p:spPr>
              <a:xfrm>
                <a:off x="7468179" y="2221645"/>
                <a:ext cx="1179575" cy="114300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_tradnl"/>
              </a:p>
            </p:txBody>
          </p:sp>
          <p:sp>
            <p:nvSpPr>
              <p:cNvPr id="80" name="Elipse 79">
                <a:extLst>
                  <a:ext uri="{FF2B5EF4-FFF2-40B4-BE49-F238E27FC236}">
                    <a16:creationId xmlns:a16="http://schemas.microsoft.com/office/drawing/2014/main" id="{7488665B-86BA-130B-D7DD-8B24EB08D0B2}"/>
                  </a:ext>
                </a:extLst>
              </p:cNvPr>
              <p:cNvSpPr/>
              <p:nvPr/>
            </p:nvSpPr>
            <p:spPr>
              <a:xfrm>
                <a:off x="9501028" y="2215047"/>
                <a:ext cx="1179575" cy="114300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_tradnl"/>
              </a:p>
            </p:txBody>
          </p:sp>
        </p:grpSp>
        <p:grpSp>
          <p:nvGrpSpPr>
            <p:cNvPr id="15" name="Gráfico 4">
              <a:extLst>
                <a:ext uri="{FF2B5EF4-FFF2-40B4-BE49-F238E27FC236}">
                  <a16:creationId xmlns:a16="http://schemas.microsoft.com/office/drawing/2014/main" id="{439E4680-03A4-E0F2-528D-A84990ACDF4D}"/>
                </a:ext>
              </a:extLst>
            </p:cNvPr>
            <p:cNvGrpSpPr/>
            <p:nvPr/>
          </p:nvGrpSpPr>
          <p:grpSpPr>
            <a:xfrm>
              <a:off x="1531851" y="2286351"/>
              <a:ext cx="656682" cy="525472"/>
              <a:chOff x="7323314" y="1097631"/>
              <a:chExt cx="278052" cy="222495"/>
            </a:xfrm>
            <a:solidFill>
              <a:schemeClr val="accent1"/>
            </a:solidFill>
          </p:grpSpPr>
          <p:sp>
            <p:nvSpPr>
              <p:cNvPr id="67" name="Forma libre: forma 1165">
                <a:extLst>
                  <a:ext uri="{FF2B5EF4-FFF2-40B4-BE49-F238E27FC236}">
                    <a16:creationId xmlns:a16="http://schemas.microsoft.com/office/drawing/2014/main" id="{D7541B16-1837-A695-A6BA-8BB735FCB60A}"/>
                  </a:ext>
                </a:extLst>
              </p:cNvPr>
              <p:cNvSpPr/>
              <p:nvPr/>
            </p:nvSpPr>
            <p:spPr>
              <a:xfrm>
                <a:off x="7333157" y="1097631"/>
                <a:ext cx="258364" cy="50027"/>
              </a:xfrm>
              <a:custGeom>
                <a:avLst/>
                <a:gdLst>
                  <a:gd name="connsiteX0" fmla="*/ 81986 w 258364"/>
                  <a:gd name="connsiteY0" fmla="*/ 25081 h 50027"/>
                  <a:gd name="connsiteX1" fmla="*/ 81986 w 258364"/>
                  <a:gd name="connsiteY1" fmla="*/ 9844 h 50027"/>
                  <a:gd name="connsiteX2" fmla="*/ 79155 w 258364"/>
                  <a:gd name="connsiteY2" fmla="*/ 2832 h 50027"/>
                  <a:gd name="connsiteX3" fmla="*/ 72277 w 258364"/>
                  <a:gd name="connsiteY3" fmla="*/ 0 h 50027"/>
                  <a:gd name="connsiteX4" fmla="*/ 9709 w 258364"/>
                  <a:gd name="connsiteY4" fmla="*/ 0 h 50027"/>
                  <a:gd name="connsiteX5" fmla="*/ 2832 w 258364"/>
                  <a:gd name="connsiteY5" fmla="*/ 2832 h 50027"/>
                  <a:gd name="connsiteX6" fmla="*/ 0 w 258364"/>
                  <a:gd name="connsiteY6" fmla="*/ 9844 h 50027"/>
                  <a:gd name="connsiteX7" fmla="*/ 0 w 258364"/>
                  <a:gd name="connsiteY7" fmla="*/ 50028 h 50027"/>
                  <a:gd name="connsiteX8" fmla="*/ 258365 w 258364"/>
                  <a:gd name="connsiteY8" fmla="*/ 50028 h 50027"/>
                  <a:gd name="connsiteX9" fmla="*/ 258365 w 258364"/>
                  <a:gd name="connsiteY9" fmla="*/ 34790 h 50027"/>
                  <a:gd name="connsiteX10" fmla="*/ 255533 w 258364"/>
                  <a:gd name="connsiteY10" fmla="*/ 27913 h 50027"/>
                  <a:gd name="connsiteX11" fmla="*/ 248656 w 258364"/>
                  <a:gd name="connsiteY11" fmla="*/ 25081 h 50027"/>
                  <a:gd name="connsiteX12" fmla="*/ 81986 w 258364"/>
                  <a:gd name="connsiteY12" fmla="*/ 25081 h 50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8364" h="50027">
                    <a:moveTo>
                      <a:pt x="81986" y="25081"/>
                    </a:moveTo>
                    <a:lnTo>
                      <a:pt x="81986" y="9844"/>
                    </a:lnTo>
                    <a:cubicBezTo>
                      <a:pt x="81986" y="7282"/>
                      <a:pt x="81042" y="4854"/>
                      <a:pt x="79155" y="2832"/>
                    </a:cubicBezTo>
                    <a:cubicBezTo>
                      <a:pt x="77267" y="944"/>
                      <a:pt x="74705" y="0"/>
                      <a:pt x="72277" y="0"/>
                    </a:cubicBezTo>
                    <a:lnTo>
                      <a:pt x="9709" y="0"/>
                    </a:lnTo>
                    <a:cubicBezTo>
                      <a:pt x="7147" y="0"/>
                      <a:pt x="4720" y="944"/>
                      <a:pt x="2832" y="2832"/>
                    </a:cubicBezTo>
                    <a:cubicBezTo>
                      <a:pt x="944" y="4720"/>
                      <a:pt x="0" y="7282"/>
                      <a:pt x="0" y="9844"/>
                    </a:cubicBezTo>
                    <a:lnTo>
                      <a:pt x="0" y="50028"/>
                    </a:lnTo>
                    <a:lnTo>
                      <a:pt x="258365" y="50028"/>
                    </a:lnTo>
                    <a:lnTo>
                      <a:pt x="258365" y="34790"/>
                    </a:lnTo>
                    <a:cubicBezTo>
                      <a:pt x="258365" y="32228"/>
                      <a:pt x="257421" y="29801"/>
                      <a:pt x="255533" y="27913"/>
                    </a:cubicBezTo>
                    <a:cubicBezTo>
                      <a:pt x="253645" y="26025"/>
                      <a:pt x="251083" y="25081"/>
                      <a:pt x="248656" y="25081"/>
                    </a:cubicBezTo>
                    <a:lnTo>
                      <a:pt x="81986" y="25081"/>
                    </a:lnTo>
                    <a:close/>
                  </a:path>
                </a:pathLst>
              </a:custGeom>
              <a:solidFill>
                <a:srgbClr val="F5B540"/>
              </a:solidFill>
              <a:ln w="134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"/>
              </a:p>
            </p:txBody>
          </p:sp>
          <p:sp>
            <p:nvSpPr>
              <p:cNvPr id="68" name="Forma libre: forma 1166">
                <a:extLst>
                  <a:ext uri="{FF2B5EF4-FFF2-40B4-BE49-F238E27FC236}">
                    <a16:creationId xmlns:a16="http://schemas.microsoft.com/office/drawing/2014/main" id="{3E4B3A3E-6F10-0D6B-F511-6EB761D06019}"/>
                  </a:ext>
                </a:extLst>
              </p:cNvPr>
              <p:cNvSpPr/>
              <p:nvPr/>
            </p:nvSpPr>
            <p:spPr>
              <a:xfrm>
                <a:off x="7342866" y="1138085"/>
                <a:ext cx="238812" cy="172198"/>
              </a:xfrm>
              <a:custGeom>
                <a:avLst/>
                <a:gdLst>
                  <a:gd name="connsiteX0" fmla="*/ 238812 w 238812"/>
                  <a:gd name="connsiteY0" fmla="*/ 162489 h 172198"/>
                  <a:gd name="connsiteX1" fmla="*/ 235980 w 238812"/>
                  <a:gd name="connsiteY1" fmla="*/ 169367 h 172198"/>
                  <a:gd name="connsiteX2" fmla="*/ 228968 w 238812"/>
                  <a:gd name="connsiteY2" fmla="*/ 172198 h 172198"/>
                  <a:gd name="connsiteX3" fmla="*/ 9709 w 238812"/>
                  <a:gd name="connsiteY3" fmla="*/ 172198 h 172198"/>
                  <a:gd name="connsiteX4" fmla="*/ 2832 w 238812"/>
                  <a:gd name="connsiteY4" fmla="*/ 169367 h 172198"/>
                  <a:gd name="connsiteX5" fmla="*/ 0 w 238812"/>
                  <a:gd name="connsiteY5" fmla="*/ 162489 h 172198"/>
                  <a:gd name="connsiteX6" fmla="*/ 0 w 238812"/>
                  <a:gd name="connsiteY6" fmla="*/ 9709 h 172198"/>
                  <a:gd name="connsiteX7" fmla="*/ 2832 w 238812"/>
                  <a:gd name="connsiteY7" fmla="*/ 2832 h 172198"/>
                  <a:gd name="connsiteX8" fmla="*/ 9709 w 238812"/>
                  <a:gd name="connsiteY8" fmla="*/ 0 h 172198"/>
                  <a:gd name="connsiteX9" fmla="*/ 228968 w 238812"/>
                  <a:gd name="connsiteY9" fmla="*/ 0 h 172198"/>
                  <a:gd name="connsiteX10" fmla="*/ 235980 w 238812"/>
                  <a:gd name="connsiteY10" fmla="*/ 2832 h 172198"/>
                  <a:gd name="connsiteX11" fmla="*/ 238812 w 238812"/>
                  <a:gd name="connsiteY11" fmla="*/ 9709 h 172198"/>
                  <a:gd name="connsiteX12" fmla="*/ 238812 w 238812"/>
                  <a:gd name="connsiteY12" fmla="*/ 162489 h 172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8812" h="172198">
                    <a:moveTo>
                      <a:pt x="238812" y="162489"/>
                    </a:moveTo>
                    <a:cubicBezTo>
                      <a:pt x="238812" y="165052"/>
                      <a:pt x="237868" y="167479"/>
                      <a:pt x="235980" y="169367"/>
                    </a:cubicBezTo>
                    <a:cubicBezTo>
                      <a:pt x="234093" y="171254"/>
                      <a:pt x="231530" y="172198"/>
                      <a:pt x="228968" y="172198"/>
                    </a:cubicBezTo>
                    <a:lnTo>
                      <a:pt x="9709" y="172198"/>
                    </a:lnTo>
                    <a:cubicBezTo>
                      <a:pt x="7147" y="172198"/>
                      <a:pt x="4720" y="171254"/>
                      <a:pt x="2832" y="169367"/>
                    </a:cubicBezTo>
                    <a:cubicBezTo>
                      <a:pt x="944" y="167479"/>
                      <a:pt x="0" y="164917"/>
                      <a:pt x="0" y="162489"/>
                    </a:cubicBezTo>
                    <a:lnTo>
                      <a:pt x="0" y="9709"/>
                    </a:lnTo>
                    <a:cubicBezTo>
                      <a:pt x="0" y="7147"/>
                      <a:pt x="944" y="4720"/>
                      <a:pt x="2832" y="2832"/>
                    </a:cubicBezTo>
                    <a:cubicBezTo>
                      <a:pt x="4720" y="944"/>
                      <a:pt x="7282" y="0"/>
                      <a:pt x="9709" y="0"/>
                    </a:cubicBezTo>
                    <a:lnTo>
                      <a:pt x="228968" y="0"/>
                    </a:lnTo>
                    <a:cubicBezTo>
                      <a:pt x="231530" y="0"/>
                      <a:pt x="233958" y="944"/>
                      <a:pt x="235980" y="2832"/>
                    </a:cubicBezTo>
                    <a:cubicBezTo>
                      <a:pt x="237868" y="4720"/>
                      <a:pt x="238812" y="7282"/>
                      <a:pt x="238812" y="9709"/>
                    </a:cubicBezTo>
                    <a:lnTo>
                      <a:pt x="238812" y="162489"/>
                    </a:lnTo>
                    <a:close/>
                  </a:path>
                </a:pathLst>
              </a:custGeom>
              <a:solidFill>
                <a:srgbClr val="FFFFFF"/>
              </a:solidFill>
              <a:ln w="134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"/>
              </a:p>
            </p:txBody>
          </p:sp>
          <p:sp>
            <p:nvSpPr>
              <p:cNvPr id="69" name="Forma libre: forma 1167">
                <a:extLst>
                  <a:ext uri="{FF2B5EF4-FFF2-40B4-BE49-F238E27FC236}">
                    <a16:creationId xmlns:a16="http://schemas.microsoft.com/office/drawing/2014/main" id="{5A002DE5-57DA-12E6-1B06-489B6BEB3FD1}"/>
                  </a:ext>
                </a:extLst>
              </p:cNvPr>
              <p:cNvSpPr/>
              <p:nvPr/>
            </p:nvSpPr>
            <p:spPr>
              <a:xfrm>
                <a:off x="7323314" y="1147928"/>
                <a:ext cx="278052" cy="172198"/>
              </a:xfrm>
              <a:custGeom>
                <a:avLst/>
                <a:gdLst>
                  <a:gd name="connsiteX0" fmla="*/ 278052 w 278052"/>
                  <a:gd name="connsiteY0" fmla="*/ 162489 h 172198"/>
                  <a:gd name="connsiteX1" fmla="*/ 275221 w 278052"/>
                  <a:gd name="connsiteY1" fmla="*/ 169366 h 172198"/>
                  <a:gd name="connsiteX2" fmla="*/ 268343 w 278052"/>
                  <a:gd name="connsiteY2" fmla="*/ 172198 h 172198"/>
                  <a:gd name="connsiteX3" fmla="*/ 9709 w 278052"/>
                  <a:gd name="connsiteY3" fmla="*/ 172198 h 172198"/>
                  <a:gd name="connsiteX4" fmla="*/ 2832 w 278052"/>
                  <a:gd name="connsiteY4" fmla="*/ 169366 h 172198"/>
                  <a:gd name="connsiteX5" fmla="*/ 0 w 278052"/>
                  <a:gd name="connsiteY5" fmla="*/ 162489 h 172198"/>
                  <a:gd name="connsiteX6" fmla="*/ 0 w 278052"/>
                  <a:gd name="connsiteY6" fmla="*/ 9709 h 172198"/>
                  <a:gd name="connsiteX7" fmla="*/ 2832 w 278052"/>
                  <a:gd name="connsiteY7" fmla="*/ 2832 h 172198"/>
                  <a:gd name="connsiteX8" fmla="*/ 9709 w 278052"/>
                  <a:gd name="connsiteY8" fmla="*/ 0 h 172198"/>
                  <a:gd name="connsiteX9" fmla="*/ 268209 w 278052"/>
                  <a:gd name="connsiteY9" fmla="*/ 0 h 172198"/>
                  <a:gd name="connsiteX10" fmla="*/ 275086 w 278052"/>
                  <a:gd name="connsiteY10" fmla="*/ 2832 h 172198"/>
                  <a:gd name="connsiteX11" fmla="*/ 277917 w 278052"/>
                  <a:gd name="connsiteY11" fmla="*/ 9709 h 172198"/>
                  <a:gd name="connsiteX12" fmla="*/ 277917 w 278052"/>
                  <a:gd name="connsiteY12" fmla="*/ 162489 h 172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78052" h="172198">
                    <a:moveTo>
                      <a:pt x="278052" y="162489"/>
                    </a:moveTo>
                    <a:cubicBezTo>
                      <a:pt x="278052" y="165051"/>
                      <a:pt x="277108" y="167479"/>
                      <a:pt x="275221" y="169366"/>
                    </a:cubicBezTo>
                    <a:cubicBezTo>
                      <a:pt x="273333" y="171254"/>
                      <a:pt x="270771" y="172198"/>
                      <a:pt x="268343" y="172198"/>
                    </a:cubicBezTo>
                    <a:lnTo>
                      <a:pt x="9709" y="172198"/>
                    </a:lnTo>
                    <a:cubicBezTo>
                      <a:pt x="7147" y="172198"/>
                      <a:pt x="4720" y="171254"/>
                      <a:pt x="2832" y="169366"/>
                    </a:cubicBezTo>
                    <a:cubicBezTo>
                      <a:pt x="944" y="167479"/>
                      <a:pt x="0" y="164917"/>
                      <a:pt x="0" y="162489"/>
                    </a:cubicBezTo>
                    <a:lnTo>
                      <a:pt x="0" y="9709"/>
                    </a:lnTo>
                    <a:cubicBezTo>
                      <a:pt x="0" y="7147"/>
                      <a:pt x="944" y="4720"/>
                      <a:pt x="2832" y="2832"/>
                    </a:cubicBezTo>
                    <a:cubicBezTo>
                      <a:pt x="4720" y="944"/>
                      <a:pt x="7282" y="0"/>
                      <a:pt x="9709" y="0"/>
                    </a:cubicBezTo>
                    <a:lnTo>
                      <a:pt x="268209" y="0"/>
                    </a:lnTo>
                    <a:cubicBezTo>
                      <a:pt x="270771" y="0"/>
                      <a:pt x="273198" y="944"/>
                      <a:pt x="275086" y="2832"/>
                    </a:cubicBezTo>
                    <a:cubicBezTo>
                      <a:pt x="276974" y="4720"/>
                      <a:pt x="277917" y="7282"/>
                      <a:pt x="277917" y="9709"/>
                    </a:cubicBezTo>
                    <a:lnTo>
                      <a:pt x="277917" y="162489"/>
                    </a:lnTo>
                    <a:close/>
                  </a:path>
                </a:pathLst>
              </a:custGeom>
              <a:solidFill>
                <a:srgbClr val="FECE66"/>
              </a:solidFill>
              <a:ln w="134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"/>
              </a:p>
            </p:txBody>
          </p:sp>
          <p:grpSp>
            <p:nvGrpSpPr>
              <p:cNvPr id="70" name="Gráfico 4">
                <a:extLst>
                  <a:ext uri="{FF2B5EF4-FFF2-40B4-BE49-F238E27FC236}">
                    <a16:creationId xmlns:a16="http://schemas.microsoft.com/office/drawing/2014/main" id="{99C2BCA2-92D8-12E6-69BB-E26239ADB40C}"/>
                  </a:ext>
                </a:extLst>
              </p:cNvPr>
              <p:cNvGrpSpPr/>
              <p:nvPr/>
            </p:nvGrpSpPr>
            <p:grpSpPr>
              <a:xfrm>
                <a:off x="7342732" y="1182719"/>
                <a:ext cx="72412" cy="45712"/>
                <a:chOff x="7342732" y="1182719"/>
                <a:chExt cx="72412" cy="45712"/>
              </a:xfrm>
              <a:solidFill>
                <a:schemeClr val="accent1"/>
              </a:solidFill>
            </p:grpSpPr>
            <p:sp>
              <p:nvSpPr>
                <p:cNvPr id="71" name="Forma libre: forma 1169">
                  <a:extLst>
                    <a:ext uri="{FF2B5EF4-FFF2-40B4-BE49-F238E27FC236}">
                      <a16:creationId xmlns:a16="http://schemas.microsoft.com/office/drawing/2014/main" id="{7F793F2F-F86B-117F-C8EF-15C6C5342F63}"/>
                    </a:ext>
                  </a:extLst>
                </p:cNvPr>
                <p:cNvSpPr/>
                <p:nvPr/>
              </p:nvSpPr>
              <p:spPr>
                <a:xfrm>
                  <a:off x="7342732" y="1219262"/>
                  <a:ext cx="72412" cy="9169"/>
                </a:xfrm>
                <a:custGeom>
                  <a:avLst/>
                  <a:gdLst>
                    <a:gd name="connsiteX0" fmla="*/ 0 w 72412"/>
                    <a:gd name="connsiteY0" fmla="*/ 0 h 9169"/>
                    <a:gd name="connsiteX1" fmla="*/ 72412 w 72412"/>
                    <a:gd name="connsiteY1" fmla="*/ 0 h 9169"/>
                    <a:gd name="connsiteX2" fmla="*/ 72412 w 72412"/>
                    <a:gd name="connsiteY2" fmla="*/ 9170 h 9169"/>
                    <a:gd name="connsiteX3" fmla="*/ 0 w 72412"/>
                    <a:gd name="connsiteY3" fmla="*/ 9170 h 91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2412" h="9169">
                      <a:moveTo>
                        <a:pt x="0" y="0"/>
                      </a:moveTo>
                      <a:lnTo>
                        <a:pt x="72412" y="0"/>
                      </a:lnTo>
                      <a:lnTo>
                        <a:pt x="72412" y="9170"/>
                      </a:lnTo>
                      <a:lnTo>
                        <a:pt x="0" y="917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34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"/>
                </a:p>
              </p:txBody>
            </p:sp>
            <p:sp>
              <p:nvSpPr>
                <p:cNvPr id="72" name="Forma libre: forma 1170">
                  <a:extLst>
                    <a:ext uri="{FF2B5EF4-FFF2-40B4-BE49-F238E27FC236}">
                      <a16:creationId xmlns:a16="http://schemas.microsoft.com/office/drawing/2014/main" id="{320FBF7B-2D95-120D-4113-66BA15A64284}"/>
                    </a:ext>
                  </a:extLst>
                </p:cNvPr>
                <p:cNvSpPr/>
                <p:nvPr/>
              </p:nvSpPr>
              <p:spPr>
                <a:xfrm>
                  <a:off x="7342732" y="1201058"/>
                  <a:ext cx="72412" cy="9169"/>
                </a:xfrm>
                <a:custGeom>
                  <a:avLst/>
                  <a:gdLst>
                    <a:gd name="connsiteX0" fmla="*/ 0 w 72412"/>
                    <a:gd name="connsiteY0" fmla="*/ 0 h 9169"/>
                    <a:gd name="connsiteX1" fmla="*/ 72412 w 72412"/>
                    <a:gd name="connsiteY1" fmla="*/ 0 h 9169"/>
                    <a:gd name="connsiteX2" fmla="*/ 72412 w 72412"/>
                    <a:gd name="connsiteY2" fmla="*/ 9170 h 9169"/>
                    <a:gd name="connsiteX3" fmla="*/ 0 w 72412"/>
                    <a:gd name="connsiteY3" fmla="*/ 9170 h 91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2412" h="9169">
                      <a:moveTo>
                        <a:pt x="0" y="0"/>
                      </a:moveTo>
                      <a:lnTo>
                        <a:pt x="72412" y="0"/>
                      </a:lnTo>
                      <a:lnTo>
                        <a:pt x="72412" y="9170"/>
                      </a:lnTo>
                      <a:lnTo>
                        <a:pt x="0" y="917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34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"/>
                </a:p>
              </p:txBody>
            </p:sp>
            <p:sp>
              <p:nvSpPr>
                <p:cNvPr id="73" name="Forma libre: forma 1171">
                  <a:extLst>
                    <a:ext uri="{FF2B5EF4-FFF2-40B4-BE49-F238E27FC236}">
                      <a16:creationId xmlns:a16="http://schemas.microsoft.com/office/drawing/2014/main" id="{07A6E313-314C-7547-F3BC-773B646BF4F3}"/>
                    </a:ext>
                  </a:extLst>
                </p:cNvPr>
                <p:cNvSpPr/>
                <p:nvPr/>
              </p:nvSpPr>
              <p:spPr>
                <a:xfrm>
                  <a:off x="7342732" y="1182719"/>
                  <a:ext cx="36273" cy="9169"/>
                </a:xfrm>
                <a:custGeom>
                  <a:avLst/>
                  <a:gdLst>
                    <a:gd name="connsiteX0" fmla="*/ 0 w 36273"/>
                    <a:gd name="connsiteY0" fmla="*/ 0 h 9169"/>
                    <a:gd name="connsiteX1" fmla="*/ 36274 w 36273"/>
                    <a:gd name="connsiteY1" fmla="*/ 0 h 9169"/>
                    <a:gd name="connsiteX2" fmla="*/ 36274 w 36273"/>
                    <a:gd name="connsiteY2" fmla="*/ 9170 h 9169"/>
                    <a:gd name="connsiteX3" fmla="*/ 0 w 36273"/>
                    <a:gd name="connsiteY3" fmla="*/ 9170 h 91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6273" h="9169">
                      <a:moveTo>
                        <a:pt x="0" y="0"/>
                      </a:moveTo>
                      <a:lnTo>
                        <a:pt x="36274" y="0"/>
                      </a:lnTo>
                      <a:lnTo>
                        <a:pt x="36274" y="9170"/>
                      </a:lnTo>
                      <a:lnTo>
                        <a:pt x="0" y="9170"/>
                      </a:lnTo>
                      <a:close/>
                    </a:path>
                  </a:pathLst>
                </a:custGeom>
                <a:solidFill>
                  <a:srgbClr val="343B43"/>
                </a:solidFill>
                <a:ln w="134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"/>
                </a:p>
              </p:txBody>
            </p:sp>
          </p:grpSp>
        </p:grpSp>
        <p:grpSp>
          <p:nvGrpSpPr>
            <p:cNvPr id="16" name="Gráfico 4">
              <a:extLst>
                <a:ext uri="{FF2B5EF4-FFF2-40B4-BE49-F238E27FC236}">
                  <a16:creationId xmlns:a16="http://schemas.microsoft.com/office/drawing/2014/main" id="{C6945B82-3AAD-C2A3-78B6-A62D94E601AB}"/>
                </a:ext>
              </a:extLst>
            </p:cNvPr>
            <p:cNvGrpSpPr/>
            <p:nvPr/>
          </p:nvGrpSpPr>
          <p:grpSpPr>
            <a:xfrm>
              <a:off x="3510562" y="2227949"/>
              <a:ext cx="746247" cy="592199"/>
              <a:chOff x="7926918" y="1710135"/>
              <a:chExt cx="294604" cy="233789"/>
            </a:xfrm>
            <a:solidFill>
              <a:schemeClr val="accent1"/>
            </a:solidFill>
          </p:grpSpPr>
          <p:grpSp>
            <p:nvGrpSpPr>
              <p:cNvPr id="20" name="Gráfico 4">
                <a:extLst>
                  <a:ext uri="{FF2B5EF4-FFF2-40B4-BE49-F238E27FC236}">
                    <a16:creationId xmlns:a16="http://schemas.microsoft.com/office/drawing/2014/main" id="{1A7359D0-9728-E899-E3C7-E1216B485FCD}"/>
                  </a:ext>
                </a:extLst>
              </p:cNvPr>
              <p:cNvGrpSpPr/>
              <p:nvPr/>
            </p:nvGrpSpPr>
            <p:grpSpPr>
              <a:xfrm>
                <a:off x="8150189" y="1715360"/>
                <a:ext cx="71333" cy="228563"/>
                <a:chOff x="8150189" y="1715360"/>
                <a:chExt cx="71333" cy="228563"/>
              </a:xfrm>
              <a:solidFill>
                <a:schemeClr val="accent1"/>
              </a:solidFill>
            </p:grpSpPr>
            <p:sp>
              <p:nvSpPr>
                <p:cNvPr id="53" name="Forma libre: forma 1683">
                  <a:extLst>
                    <a:ext uri="{FF2B5EF4-FFF2-40B4-BE49-F238E27FC236}">
                      <a16:creationId xmlns:a16="http://schemas.microsoft.com/office/drawing/2014/main" id="{AAAF3CC1-E8C7-88A8-FEF0-922DD1F899CE}"/>
                    </a:ext>
                  </a:extLst>
                </p:cNvPr>
                <p:cNvSpPr/>
                <p:nvPr/>
              </p:nvSpPr>
              <p:spPr>
                <a:xfrm>
                  <a:off x="8150189" y="1715360"/>
                  <a:ext cx="71333" cy="228563"/>
                </a:xfrm>
                <a:custGeom>
                  <a:avLst/>
                  <a:gdLst>
                    <a:gd name="connsiteX0" fmla="*/ 0 w 71333"/>
                    <a:gd name="connsiteY0" fmla="*/ 7012 h 228563"/>
                    <a:gd name="connsiteX1" fmla="*/ 2023 w 71333"/>
                    <a:gd name="connsiteY1" fmla="*/ 2023 h 228563"/>
                    <a:gd name="connsiteX2" fmla="*/ 7012 w 71333"/>
                    <a:gd name="connsiteY2" fmla="*/ 0 h 228563"/>
                    <a:gd name="connsiteX3" fmla="*/ 64321 w 71333"/>
                    <a:gd name="connsiteY3" fmla="*/ 0 h 228563"/>
                    <a:gd name="connsiteX4" fmla="*/ 69311 w 71333"/>
                    <a:gd name="connsiteY4" fmla="*/ 2023 h 228563"/>
                    <a:gd name="connsiteX5" fmla="*/ 71333 w 71333"/>
                    <a:gd name="connsiteY5" fmla="*/ 7012 h 228563"/>
                    <a:gd name="connsiteX6" fmla="*/ 71333 w 71333"/>
                    <a:gd name="connsiteY6" fmla="*/ 221552 h 228563"/>
                    <a:gd name="connsiteX7" fmla="*/ 69311 w 71333"/>
                    <a:gd name="connsiteY7" fmla="*/ 226541 h 228563"/>
                    <a:gd name="connsiteX8" fmla="*/ 64321 w 71333"/>
                    <a:gd name="connsiteY8" fmla="*/ 228564 h 228563"/>
                    <a:gd name="connsiteX9" fmla="*/ 7012 w 71333"/>
                    <a:gd name="connsiteY9" fmla="*/ 228564 h 228563"/>
                    <a:gd name="connsiteX10" fmla="*/ 2023 w 71333"/>
                    <a:gd name="connsiteY10" fmla="*/ 226541 h 228563"/>
                    <a:gd name="connsiteX11" fmla="*/ 0 w 71333"/>
                    <a:gd name="connsiteY11" fmla="*/ 221552 h 228563"/>
                    <a:gd name="connsiteX12" fmla="*/ 0 w 71333"/>
                    <a:gd name="connsiteY12" fmla="*/ 7012 h 2285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1333" h="228563">
                      <a:moveTo>
                        <a:pt x="0" y="7012"/>
                      </a:moveTo>
                      <a:cubicBezTo>
                        <a:pt x="0" y="5259"/>
                        <a:pt x="674" y="3371"/>
                        <a:pt x="2023" y="2023"/>
                      </a:cubicBezTo>
                      <a:cubicBezTo>
                        <a:pt x="3371" y="674"/>
                        <a:pt x="5259" y="0"/>
                        <a:pt x="7012" y="0"/>
                      </a:cubicBezTo>
                      <a:lnTo>
                        <a:pt x="64321" y="0"/>
                      </a:lnTo>
                      <a:cubicBezTo>
                        <a:pt x="66074" y="0"/>
                        <a:pt x="67962" y="674"/>
                        <a:pt x="69311" y="2023"/>
                      </a:cubicBezTo>
                      <a:cubicBezTo>
                        <a:pt x="70659" y="3371"/>
                        <a:pt x="71333" y="5259"/>
                        <a:pt x="71333" y="7012"/>
                      </a:cubicBezTo>
                      <a:lnTo>
                        <a:pt x="71333" y="221552"/>
                      </a:lnTo>
                      <a:cubicBezTo>
                        <a:pt x="71333" y="223305"/>
                        <a:pt x="70659" y="225193"/>
                        <a:pt x="69311" y="226541"/>
                      </a:cubicBezTo>
                      <a:cubicBezTo>
                        <a:pt x="67962" y="227890"/>
                        <a:pt x="66074" y="228564"/>
                        <a:pt x="64321" y="228564"/>
                      </a:cubicBezTo>
                      <a:lnTo>
                        <a:pt x="7012" y="228564"/>
                      </a:lnTo>
                      <a:cubicBezTo>
                        <a:pt x="5259" y="228564"/>
                        <a:pt x="3371" y="227890"/>
                        <a:pt x="2023" y="226541"/>
                      </a:cubicBezTo>
                      <a:cubicBezTo>
                        <a:pt x="674" y="225193"/>
                        <a:pt x="0" y="223305"/>
                        <a:pt x="0" y="221552"/>
                      </a:cubicBezTo>
                      <a:lnTo>
                        <a:pt x="0" y="7012"/>
                      </a:lnTo>
                      <a:close/>
                    </a:path>
                  </a:pathLst>
                </a:custGeom>
                <a:solidFill>
                  <a:srgbClr val="343B43"/>
                </a:solidFill>
                <a:ln w="134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"/>
                </a:p>
              </p:txBody>
            </p:sp>
            <p:grpSp>
              <p:nvGrpSpPr>
                <p:cNvPr id="54" name="Gráfico 4">
                  <a:extLst>
                    <a:ext uri="{FF2B5EF4-FFF2-40B4-BE49-F238E27FC236}">
                      <a16:creationId xmlns:a16="http://schemas.microsoft.com/office/drawing/2014/main" id="{13385C7E-3479-DCCF-577D-A9940F38C726}"/>
                    </a:ext>
                  </a:extLst>
                </p:cNvPr>
                <p:cNvGrpSpPr/>
                <p:nvPr/>
              </p:nvGrpSpPr>
              <p:grpSpPr>
                <a:xfrm>
                  <a:off x="8165157" y="1884592"/>
                  <a:ext cx="41532" cy="41532"/>
                  <a:chOff x="8165157" y="1884592"/>
                  <a:chExt cx="41532" cy="41532"/>
                </a:xfrm>
                <a:solidFill>
                  <a:schemeClr val="accent1"/>
                </a:solidFill>
              </p:grpSpPr>
              <p:sp>
                <p:nvSpPr>
                  <p:cNvPr id="65" name="Forma libre: forma 1695">
                    <a:extLst>
                      <a:ext uri="{FF2B5EF4-FFF2-40B4-BE49-F238E27FC236}">
                        <a16:creationId xmlns:a16="http://schemas.microsoft.com/office/drawing/2014/main" id="{0E5285C8-C899-5CF9-C046-648DE0F10C6C}"/>
                      </a:ext>
                    </a:extLst>
                  </p:cNvPr>
                  <p:cNvSpPr/>
                  <p:nvPr/>
                </p:nvSpPr>
                <p:spPr>
                  <a:xfrm>
                    <a:off x="8165157" y="1884592"/>
                    <a:ext cx="41532" cy="41532"/>
                  </a:xfrm>
                  <a:custGeom>
                    <a:avLst/>
                    <a:gdLst>
                      <a:gd name="connsiteX0" fmla="*/ 0 w 41532"/>
                      <a:gd name="connsiteY0" fmla="*/ 20766 h 41532"/>
                      <a:gd name="connsiteX1" fmla="*/ 20766 w 41532"/>
                      <a:gd name="connsiteY1" fmla="*/ 41533 h 41532"/>
                      <a:gd name="connsiteX2" fmla="*/ 41533 w 41532"/>
                      <a:gd name="connsiteY2" fmla="*/ 20766 h 41532"/>
                      <a:gd name="connsiteX3" fmla="*/ 20766 w 41532"/>
                      <a:gd name="connsiteY3" fmla="*/ 0 h 41532"/>
                      <a:gd name="connsiteX4" fmla="*/ 0 w 41532"/>
                      <a:gd name="connsiteY4" fmla="*/ 20766 h 415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532" h="41532">
                        <a:moveTo>
                          <a:pt x="0" y="20766"/>
                        </a:moveTo>
                        <a:cubicBezTo>
                          <a:pt x="0" y="32228"/>
                          <a:pt x="9304" y="41533"/>
                          <a:pt x="20766" y="41533"/>
                        </a:cubicBezTo>
                        <a:cubicBezTo>
                          <a:pt x="32228" y="41533"/>
                          <a:pt x="41533" y="32228"/>
                          <a:pt x="41533" y="20766"/>
                        </a:cubicBezTo>
                        <a:cubicBezTo>
                          <a:pt x="41533" y="9304"/>
                          <a:pt x="32228" y="0"/>
                          <a:pt x="20766" y="0"/>
                        </a:cubicBezTo>
                        <a:cubicBezTo>
                          <a:pt x="9304" y="0"/>
                          <a:pt x="0" y="9304"/>
                          <a:pt x="0" y="2076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1347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"/>
                  </a:p>
                </p:txBody>
              </p:sp>
              <p:sp>
                <p:nvSpPr>
                  <p:cNvPr id="66" name="Forma libre: forma 1696">
                    <a:extLst>
                      <a:ext uri="{FF2B5EF4-FFF2-40B4-BE49-F238E27FC236}">
                        <a16:creationId xmlns:a16="http://schemas.microsoft.com/office/drawing/2014/main" id="{F81F3615-71C1-4D28-E945-050D8F74F43F}"/>
                      </a:ext>
                    </a:extLst>
                  </p:cNvPr>
                  <p:cNvSpPr/>
                  <p:nvPr/>
                </p:nvSpPr>
                <p:spPr>
                  <a:xfrm>
                    <a:off x="8170281" y="1889849"/>
                    <a:ext cx="31014" cy="31016"/>
                  </a:xfrm>
                  <a:custGeom>
                    <a:avLst/>
                    <a:gdLst>
                      <a:gd name="connsiteX0" fmla="*/ 0 w 31014"/>
                      <a:gd name="connsiteY0" fmla="*/ 15509 h 31016"/>
                      <a:gd name="connsiteX1" fmla="*/ 15507 w 31014"/>
                      <a:gd name="connsiteY1" fmla="*/ 31017 h 31016"/>
                      <a:gd name="connsiteX2" fmla="*/ 31015 w 31014"/>
                      <a:gd name="connsiteY2" fmla="*/ 15509 h 31016"/>
                      <a:gd name="connsiteX3" fmla="*/ 15507 w 31014"/>
                      <a:gd name="connsiteY3" fmla="*/ 2 h 31016"/>
                      <a:gd name="connsiteX4" fmla="*/ 0 w 31014"/>
                      <a:gd name="connsiteY4" fmla="*/ 15509 h 310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014" h="31016">
                        <a:moveTo>
                          <a:pt x="0" y="15509"/>
                        </a:moveTo>
                        <a:cubicBezTo>
                          <a:pt x="0" y="24139"/>
                          <a:pt x="7012" y="31017"/>
                          <a:pt x="15507" y="31017"/>
                        </a:cubicBezTo>
                        <a:cubicBezTo>
                          <a:pt x="24137" y="31017"/>
                          <a:pt x="31015" y="24004"/>
                          <a:pt x="31015" y="15509"/>
                        </a:cubicBezTo>
                        <a:cubicBezTo>
                          <a:pt x="31015" y="6879"/>
                          <a:pt x="24003" y="2"/>
                          <a:pt x="15507" y="2"/>
                        </a:cubicBezTo>
                        <a:cubicBezTo>
                          <a:pt x="7012" y="-133"/>
                          <a:pt x="0" y="6879"/>
                          <a:pt x="0" y="15509"/>
                        </a:cubicBezTo>
                        <a:close/>
                      </a:path>
                    </a:pathLst>
                  </a:custGeom>
                  <a:solidFill>
                    <a:srgbClr val="1E262E"/>
                  </a:solidFill>
                  <a:ln w="1347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"/>
                  </a:p>
                </p:txBody>
              </p:sp>
            </p:grpSp>
            <p:grpSp>
              <p:nvGrpSpPr>
                <p:cNvPr id="55" name="Gráfico 4">
                  <a:extLst>
                    <a:ext uri="{FF2B5EF4-FFF2-40B4-BE49-F238E27FC236}">
                      <a16:creationId xmlns:a16="http://schemas.microsoft.com/office/drawing/2014/main" id="{8CA01D41-8E11-1097-F070-8CA929DCBAE0}"/>
                    </a:ext>
                  </a:extLst>
                </p:cNvPr>
                <p:cNvGrpSpPr/>
                <p:nvPr/>
              </p:nvGrpSpPr>
              <p:grpSpPr>
                <a:xfrm>
                  <a:off x="8162325" y="1727496"/>
                  <a:ext cx="47196" cy="139295"/>
                  <a:chOff x="8162325" y="1727496"/>
                  <a:chExt cx="47196" cy="139295"/>
                </a:xfrm>
                <a:solidFill>
                  <a:schemeClr val="accent1"/>
                </a:solidFill>
              </p:grpSpPr>
              <p:sp>
                <p:nvSpPr>
                  <p:cNvPr id="56" name="Forma libre: forma 1686">
                    <a:extLst>
                      <a:ext uri="{FF2B5EF4-FFF2-40B4-BE49-F238E27FC236}">
                        <a16:creationId xmlns:a16="http://schemas.microsoft.com/office/drawing/2014/main" id="{12AFD0A9-1F28-36DF-689B-A1C686792C14}"/>
                      </a:ext>
                    </a:extLst>
                  </p:cNvPr>
                  <p:cNvSpPr/>
                  <p:nvPr/>
                </p:nvSpPr>
                <p:spPr>
                  <a:xfrm>
                    <a:off x="8162325" y="1727496"/>
                    <a:ext cx="47196" cy="139295"/>
                  </a:xfrm>
                  <a:custGeom>
                    <a:avLst/>
                    <a:gdLst>
                      <a:gd name="connsiteX0" fmla="*/ 0 w 47196"/>
                      <a:gd name="connsiteY0" fmla="*/ 0 h 139295"/>
                      <a:gd name="connsiteX1" fmla="*/ 47196 w 47196"/>
                      <a:gd name="connsiteY1" fmla="*/ 0 h 139295"/>
                      <a:gd name="connsiteX2" fmla="*/ 47196 w 47196"/>
                      <a:gd name="connsiteY2" fmla="*/ 139296 h 139295"/>
                      <a:gd name="connsiteX3" fmla="*/ 0 w 47196"/>
                      <a:gd name="connsiteY3" fmla="*/ 139296 h 1392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7196" h="139295">
                        <a:moveTo>
                          <a:pt x="0" y="0"/>
                        </a:moveTo>
                        <a:lnTo>
                          <a:pt x="47196" y="0"/>
                        </a:lnTo>
                        <a:lnTo>
                          <a:pt x="47196" y="139296"/>
                        </a:lnTo>
                        <a:lnTo>
                          <a:pt x="0" y="13929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347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"/>
                  </a:p>
                </p:txBody>
              </p:sp>
              <p:sp>
                <p:nvSpPr>
                  <p:cNvPr id="57" name="Forma libre: forma 1687">
                    <a:extLst>
                      <a:ext uri="{FF2B5EF4-FFF2-40B4-BE49-F238E27FC236}">
                        <a16:creationId xmlns:a16="http://schemas.microsoft.com/office/drawing/2014/main" id="{E0EF965D-35BE-0ED6-9945-1AC9D77B4D88}"/>
                      </a:ext>
                    </a:extLst>
                  </p:cNvPr>
                  <p:cNvSpPr/>
                  <p:nvPr/>
                </p:nvSpPr>
                <p:spPr>
                  <a:xfrm>
                    <a:off x="8170146" y="1735317"/>
                    <a:ext cx="31419" cy="31419"/>
                  </a:xfrm>
                  <a:custGeom>
                    <a:avLst/>
                    <a:gdLst>
                      <a:gd name="connsiteX0" fmla="*/ 0 w 31419"/>
                      <a:gd name="connsiteY0" fmla="*/ 0 h 31419"/>
                      <a:gd name="connsiteX1" fmla="*/ 31419 w 31419"/>
                      <a:gd name="connsiteY1" fmla="*/ 0 h 31419"/>
                      <a:gd name="connsiteX2" fmla="*/ 31419 w 31419"/>
                      <a:gd name="connsiteY2" fmla="*/ 31419 h 31419"/>
                      <a:gd name="connsiteX3" fmla="*/ 0 w 31419"/>
                      <a:gd name="connsiteY3" fmla="*/ 31419 h 314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1419" h="31419">
                        <a:moveTo>
                          <a:pt x="0" y="0"/>
                        </a:moveTo>
                        <a:lnTo>
                          <a:pt x="31419" y="0"/>
                        </a:lnTo>
                        <a:lnTo>
                          <a:pt x="31419" y="31419"/>
                        </a:lnTo>
                        <a:lnTo>
                          <a:pt x="0" y="31419"/>
                        </a:lnTo>
                        <a:close/>
                      </a:path>
                    </a:pathLst>
                  </a:custGeom>
                  <a:solidFill>
                    <a:srgbClr val="CCCBCA"/>
                  </a:solidFill>
                  <a:ln w="1347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"/>
                  </a:p>
                </p:txBody>
              </p:sp>
              <p:sp>
                <p:nvSpPr>
                  <p:cNvPr id="58" name="Forma libre: forma 1688">
                    <a:extLst>
                      <a:ext uri="{FF2B5EF4-FFF2-40B4-BE49-F238E27FC236}">
                        <a16:creationId xmlns:a16="http://schemas.microsoft.com/office/drawing/2014/main" id="{23D30719-FA8A-42C1-5BAA-10BDB942B3C0}"/>
                      </a:ext>
                    </a:extLst>
                  </p:cNvPr>
                  <p:cNvSpPr/>
                  <p:nvPr/>
                </p:nvSpPr>
                <p:spPr>
                  <a:xfrm>
                    <a:off x="8170146" y="1843194"/>
                    <a:ext cx="31419" cy="15776"/>
                  </a:xfrm>
                  <a:custGeom>
                    <a:avLst/>
                    <a:gdLst>
                      <a:gd name="connsiteX0" fmla="*/ 0 w 31419"/>
                      <a:gd name="connsiteY0" fmla="*/ 0 h 15776"/>
                      <a:gd name="connsiteX1" fmla="*/ 31419 w 31419"/>
                      <a:gd name="connsiteY1" fmla="*/ 0 h 15776"/>
                      <a:gd name="connsiteX2" fmla="*/ 31419 w 31419"/>
                      <a:gd name="connsiteY2" fmla="*/ 15777 h 15776"/>
                      <a:gd name="connsiteX3" fmla="*/ 0 w 31419"/>
                      <a:gd name="connsiteY3" fmla="*/ 15777 h 157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1419" h="15776">
                        <a:moveTo>
                          <a:pt x="0" y="0"/>
                        </a:moveTo>
                        <a:lnTo>
                          <a:pt x="31419" y="0"/>
                        </a:lnTo>
                        <a:lnTo>
                          <a:pt x="31419" y="15777"/>
                        </a:lnTo>
                        <a:lnTo>
                          <a:pt x="0" y="15777"/>
                        </a:lnTo>
                        <a:close/>
                      </a:path>
                    </a:pathLst>
                  </a:custGeom>
                  <a:solidFill>
                    <a:srgbClr val="CCCBCA"/>
                  </a:solidFill>
                  <a:ln w="1347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"/>
                  </a:p>
                </p:txBody>
              </p:sp>
              <p:grpSp>
                <p:nvGrpSpPr>
                  <p:cNvPr id="59" name="Gráfico 4">
                    <a:extLst>
                      <a:ext uri="{FF2B5EF4-FFF2-40B4-BE49-F238E27FC236}">
                        <a16:creationId xmlns:a16="http://schemas.microsoft.com/office/drawing/2014/main" id="{0BF192C6-A636-E3FF-9E59-9194F7D18F82}"/>
                      </a:ext>
                    </a:extLst>
                  </p:cNvPr>
                  <p:cNvGrpSpPr/>
                  <p:nvPr/>
                </p:nvGrpSpPr>
                <p:grpSpPr>
                  <a:xfrm>
                    <a:off x="8170281" y="1771321"/>
                    <a:ext cx="31284" cy="40858"/>
                    <a:chOff x="8170281" y="1771321"/>
                    <a:chExt cx="31284" cy="40858"/>
                  </a:xfrm>
                  <a:solidFill>
                    <a:srgbClr val="CCCBCA"/>
                  </a:solidFill>
                </p:grpSpPr>
                <p:sp>
                  <p:nvSpPr>
                    <p:cNvPr id="60" name="Forma libre: forma 1690">
                      <a:extLst>
                        <a:ext uri="{FF2B5EF4-FFF2-40B4-BE49-F238E27FC236}">
                          <a16:creationId xmlns:a16="http://schemas.microsoft.com/office/drawing/2014/main" id="{098513CD-3EFC-4D49-01A6-BCF1FEEE63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170281" y="1798560"/>
                      <a:ext cx="31284" cy="4584"/>
                    </a:xfrm>
                    <a:custGeom>
                      <a:avLst/>
                      <a:gdLst>
                        <a:gd name="connsiteX0" fmla="*/ 0 w 31284"/>
                        <a:gd name="connsiteY0" fmla="*/ 0 h 4584"/>
                        <a:gd name="connsiteX1" fmla="*/ 31284 w 31284"/>
                        <a:gd name="connsiteY1" fmla="*/ 0 h 4584"/>
                        <a:gd name="connsiteX2" fmla="*/ 31284 w 31284"/>
                        <a:gd name="connsiteY2" fmla="*/ 4585 h 4584"/>
                        <a:gd name="connsiteX3" fmla="*/ 0 w 31284"/>
                        <a:gd name="connsiteY3" fmla="*/ 4585 h 45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31284" h="4584">
                          <a:moveTo>
                            <a:pt x="0" y="0"/>
                          </a:moveTo>
                          <a:lnTo>
                            <a:pt x="31284" y="0"/>
                          </a:lnTo>
                          <a:lnTo>
                            <a:pt x="31284" y="4585"/>
                          </a:lnTo>
                          <a:lnTo>
                            <a:pt x="0" y="4585"/>
                          </a:lnTo>
                          <a:close/>
                        </a:path>
                      </a:pathLst>
                    </a:custGeom>
                    <a:solidFill>
                      <a:srgbClr val="CCCBCA"/>
                    </a:solidFill>
                    <a:ln w="1347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s-ES"/>
                    </a:p>
                  </p:txBody>
                </p:sp>
                <p:sp>
                  <p:nvSpPr>
                    <p:cNvPr id="61" name="Forma libre: forma 1691">
                      <a:extLst>
                        <a:ext uri="{FF2B5EF4-FFF2-40B4-BE49-F238E27FC236}">
                          <a16:creationId xmlns:a16="http://schemas.microsoft.com/office/drawing/2014/main" id="{6B159BC7-392C-CF32-A13F-75CCBB5FCD2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170281" y="1807595"/>
                      <a:ext cx="31284" cy="4584"/>
                    </a:xfrm>
                    <a:custGeom>
                      <a:avLst/>
                      <a:gdLst>
                        <a:gd name="connsiteX0" fmla="*/ 0 w 31284"/>
                        <a:gd name="connsiteY0" fmla="*/ 0 h 4584"/>
                        <a:gd name="connsiteX1" fmla="*/ 31284 w 31284"/>
                        <a:gd name="connsiteY1" fmla="*/ 0 h 4584"/>
                        <a:gd name="connsiteX2" fmla="*/ 31284 w 31284"/>
                        <a:gd name="connsiteY2" fmla="*/ 4585 h 4584"/>
                        <a:gd name="connsiteX3" fmla="*/ 0 w 31284"/>
                        <a:gd name="connsiteY3" fmla="*/ 4585 h 45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31284" h="4584">
                          <a:moveTo>
                            <a:pt x="0" y="0"/>
                          </a:moveTo>
                          <a:lnTo>
                            <a:pt x="31284" y="0"/>
                          </a:lnTo>
                          <a:lnTo>
                            <a:pt x="31284" y="4585"/>
                          </a:lnTo>
                          <a:lnTo>
                            <a:pt x="0" y="4585"/>
                          </a:lnTo>
                          <a:close/>
                        </a:path>
                      </a:pathLst>
                    </a:custGeom>
                    <a:solidFill>
                      <a:srgbClr val="CCCBCA"/>
                    </a:solidFill>
                    <a:ln w="1347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s-ES"/>
                    </a:p>
                  </p:txBody>
                </p:sp>
                <p:sp>
                  <p:nvSpPr>
                    <p:cNvPr id="62" name="Forma libre: forma 1692">
                      <a:extLst>
                        <a:ext uri="{FF2B5EF4-FFF2-40B4-BE49-F238E27FC236}">
                          <a16:creationId xmlns:a16="http://schemas.microsoft.com/office/drawing/2014/main" id="{5AA4854F-4C36-56CF-CBA0-2B31760B888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170281" y="1789525"/>
                      <a:ext cx="31284" cy="4584"/>
                    </a:xfrm>
                    <a:custGeom>
                      <a:avLst/>
                      <a:gdLst>
                        <a:gd name="connsiteX0" fmla="*/ 0 w 31284"/>
                        <a:gd name="connsiteY0" fmla="*/ 0 h 4584"/>
                        <a:gd name="connsiteX1" fmla="*/ 31284 w 31284"/>
                        <a:gd name="connsiteY1" fmla="*/ 0 h 4584"/>
                        <a:gd name="connsiteX2" fmla="*/ 31284 w 31284"/>
                        <a:gd name="connsiteY2" fmla="*/ 4585 h 4584"/>
                        <a:gd name="connsiteX3" fmla="*/ 0 w 31284"/>
                        <a:gd name="connsiteY3" fmla="*/ 4585 h 45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31284" h="4584">
                          <a:moveTo>
                            <a:pt x="0" y="0"/>
                          </a:moveTo>
                          <a:lnTo>
                            <a:pt x="31284" y="0"/>
                          </a:lnTo>
                          <a:lnTo>
                            <a:pt x="31284" y="4585"/>
                          </a:lnTo>
                          <a:lnTo>
                            <a:pt x="0" y="4585"/>
                          </a:lnTo>
                          <a:close/>
                        </a:path>
                      </a:pathLst>
                    </a:custGeom>
                    <a:solidFill>
                      <a:srgbClr val="CCCBCA"/>
                    </a:solidFill>
                    <a:ln w="1347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s-ES"/>
                    </a:p>
                  </p:txBody>
                </p:sp>
                <p:sp>
                  <p:nvSpPr>
                    <p:cNvPr id="63" name="Forma libre: forma 1693">
                      <a:extLst>
                        <a:ext uri="{FF2B5EF4-FFF2-40B4-BE49-F238E27FC236}">
                          <a16:creationId xmlns:a16="http://schemas.microsoft.com/office/drawing/2014/main" id="{C0FF4BB9-5CE2-E230-86FD-85C6FF1C6FB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170281" y="1780356"/>
                      <a:ext cx="31284" cy="4584"/>
                    </a:xfrm>
                    <a:custGeom>
                      <a:avLst/>
                      <a:gdLst>
                        <a:gd name="connsiteX0" fmla="*/ 0 w 31284"/>
                        <a:gd name="connsiteY0" fmla="*/ 0 h 4584"/>
                        <a:gd name="connsiteX1" fmla="*/ 31284 w 31284"/>
                        <a:gd name="connsiteY1" fmla="*/ 0 h 4584"/>
                        <a:gd name="connsiteX2" fmla="*/ 31284 w 31284"/>
                        <a:gd name="connsiteY2" fmla="*/ 4585 h 4584"/>
                        <a:gd name="connsiteX3" fmla="*/ 0 w 31284"/>
                        <a:gd name="connsiteY3" fmla="*/ 4585 h 45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31284" h="4584">
                          <a:moveTo>
                            <a:pt x="0" y="0"/>
                          </a:moveTo>
                          <a:lnTo>
                            <a:pt x="31284" y="0"/>
                          </a:lnTo>
                          <a:lnTo>
                            <a:pt x="31284" y="4585"/>
                          </a:lnTo>
                          <a:lnTo>
                            <a:pt x="0" y="4585"/>
                          </a:lnTo>
                          <a:close/>
                        </a:path>
                      </a:pathLst>
                    </a:custGeom>
                    <a:solidFill>
                      <a:srgbClr val="CCCBCA"/>
                    </a:solidFill>
                    <a:ln w="1347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s-ES"/>
                    </a:p>
                  </p:txBody>
                </p:sp>
                <p:sp>
                  <p:nvSpPr>
                    <p:cNvPr id="64" name="Forma libre: forma 1694">
                      <a:extLst>
                        <a:ext uri="{FF2B5EF4-FFF2-40B4-BE49-F238E27FC236}">
                          <a16:creationId xmlns:a16="http://schemas.microsoft.com/office/drawing/2014/main" id="{0A02A19C-68CF-02AF-8E0D-7F76F6FE828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170281" y="1771321"/>
                      <a:ext cx="31284" cy="4584"/>
                    </a:xfrm>
                    <a:custGeom>
                      <a:avLst/>
                      <a:gdLst>
                        <a:gd name="connsiteX0" fmla="*/ 0 w 31284"/>
                        <a:gd name="connsiteY0" fmla="*/ 0 h 4584"/>
                        <a:gd name="connsiteX1" fmla="*/ 31284 w 31284"/>
                        <a:gd name="connsiteY1" fmla="*/ 0 h 4584"/>
                        <a:gd name="connsiteX2" fmla="*/ 31284 w 31284"/>
                        <a:gd name="connsiteY2" fmla="*/ 4585 h 4584"/>
                        <a:gd name="connsiteX3" fmla="*/ 0 w 31284"/>
                        <a:gd name="connsiteY3" fmla="*/ 4585 h 45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31284" h="4584">
                          <a:moveTo>
                            <a:pt x="0" y="0"/>
                          </a:moveTo>
                          <a:lnTo>
                            <a:pt x="31284" y="0"/>
                          </a:lnTo>
                          <a:lnTo>
                            <a:pt x="31284" y="4585"/>
                          </a:lnTo>
                          <a:lnTo>
                            <a:pt x="0" y="4585"/>
                          </a:lnTo>
                          <a:close/>
                        </a:path>
                      </a:pathLst>
                    </a:custGeom>
                    <a:solidFill>
                      <a:srgbClr val="CCCBCA"/>
                    </a:solidFill>
                    <a:ln w="1347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s-ES"/>
                    </a:p>
                  </p:txBody>
                </p:sp>
              </p:grpSp>
            </p:grpSp>
          </p:grpSp>
          <p:grpSp>
            <p:nvGrpSpPr>
              <p:cNvPr id="21" name="Gráfico 4">
                <a:extLst>
                  <a:ext uri="{FF2B5EF4-FFF2-40B4-BE49-F238E27FC236}">
                    <a16:creationId xmlns:a16="http://schemas.microsoft.com/office/drawing/2014/main" id="{77A642ED-0D42-3732-A758-BD44755164ED}"/>
                  </a:ext>
                </a:extLst>
              </p:cNvPr>
              <p:cNvGrpSpPr/>
              <p:nvPr/>
            </p:nvGrpSpPr>
            <p:grpSpPr>
              <a:xfrm>
                <a:off x="8078721" y="1715360"/>
                <a:ext cx="71333" cy="228563"/>
                <a:chOff x="8078721" y="1715360"/>
                <a:chExt cx="71333" cy="228563"/>
              </a:xfrm>
              <a:solidFill>
                <a:schemeClr val="accent1"/>
              </a:solidFill>
            </p:grpSpPr>
            <p:sp>
              <p:nvSpPr>
                <p:cNvPr id="38" name="Forma libre: forma 1669">
                  <a:extLst>
                    <a:ext uri="{FF2B5EF4-FFF2-40B4-BE49-F238E27FC236}">
                      <a16:creationId xmlns:a16="http://schemas.microsoft.com/office/drawing/2014/main" id="{FCC4BCD8-A183-756F-619A-DFB9169DBC84}"/>
                    </a:ext>
                  </a:extLst>
                </p:cNvPr>
                <p:cNvSpPr/>
                <p:nvPr/>
              </p:nvSpPr>
              <p:spPr>
                <a:xfrm>
                  <a:off x="8078721" y="1715360"/>
                  <a:ext cx="71333" cy="228563"/>
                </a:xfrm>
                <a:custGeom>
                  <a:avLst/>
                  <a:gdLst>
                    <a:gd name="connsiteX0" fmla="*/ 0 w 71333"/>
                    <a:gd name="connsiteY0" fmla="*/ 7012 h 228563"/>
                    <a:gd name="connsiteX1" fmla="*/ 2023 w 71333"/>
                    <a:gd name="connsiteY1" fmla="*/ 2023 h 228563"/>
                    <a:gd name="connsiteX2" fmla="*/ 7012 w 71333"/>
                    <a:gd name="connsiteY2" fmla="*/ 0 h 228563"/>
                    <a:gd name="connsiteX3" fmla="*/ 64321 w 71333"/>
                    <a:gd name="connsiteY3" fmla="*/ 0 h 228563"/>
                    <a:gd name="connsiteX4" fmla="*/ 69311 w 71333"/>
                    <a:gd name="connsiteY4" fmla="*/ 2023 h 228563"/>
                    <a:gd name="connsiteX5" fmla="*/ 71334 w 71333"/>
                    <a:gd name="connsiteY5" fmla="*/ 7012 h 228563"/>
                    <a:gd name="connsiteX6" fmla="*/ 71334 w 71333"/>
                    <a:gd name="connsiteY6" fmla="*/ 221552 h 228563"/>
                    <a:gd name="connsiteX7" fmla="*/ 69311 w 71333"/>
                    <a:gd name="connsiteY7" fmla="*/ 226541 h 228563"/>
                    <a:gd name="connsiteX8" fmla="*/ 64321 w 71333"/>
                    <a:gd name="connsiteY8" fmla="*/ 228564 h 228563"/>
                    <a:gd name="connsiteX9" fmla="*/ 7012 w 71333"/>
                    <a:gd name="connsiteY9" fmla="*/ 228564 h 228563"/>
                    <a:gd name="connsiteX10" fmla="*/ 2023 w 71333"/>
                    <a:gd name="connsiteY10" fmla="*/ 226541 h 228563"/>
                    <a:gd name="connsiteX11" fmla="*/ 0 w 71333"/>
                    <a:gd name="connsiteY11" fmla="*/ 221552 h 228563"/>
                    <a:gd name="connsiteX12" fmla="*/ 0 w 71333"/>
                    <a:gd name="connsiteY12" fmla="*/ 7012 h 2285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1333" h="228563">
                      <a:moveTo>
                        <a:pt x="0" y="7012"/>
                      </a:moveTo>
                      <a:cubicBezTo>
                        <a:pt x="0" y="5259"/>
                        <a:pt x="674" y="3371"/>
                        <a:pt x="2023" y="2023"/>
                      </a:cubicBezTo>
                      <a:cubicBezTo>
                        <a:pt x="3371" y="674"/>
                        <a:pt x="5124" y="0"/>
                        <a:pt x="7012" y="0"/>
                      </a:cubicBezTo>
                      <a:lnTo>
                        <a:pt x="64321" y="0"/>
                      </a:lnTo>
                      <a:cubicBezTo>
                        <a:pt x="66075" y="0"/>
                        <a:pt x="67962" y="674"/>
                        <a:pt x="69311" y="2023"/>
                      </a:cubicBezTo>
                      <a:cubicBezTo>
                        <a:pt x="70659" y="3371"/>
                        <a:pt x="71334" y="5259"/>
                        <a:pt x="71334" y="7012"/>
                      </a:cubicBezTo>
                      <a:lnTo>
                        <a:pt x="71334" y="221552"/>
                      </a:lnTo>
                      <a:cubicBezTo>
                        <a:pt x="71334" y="223305"/>
                        <a:pt x="70659" y="225193"/>
                        <a:pt x="69311" y="226541"/>
                      </a:cubicBezTo>
                      <a:cubicBezTo>
                        <a:pt x="67962" y="227890"/>
                        <a:pt x="66075" y="228564"/>
                        <a:pt x="64321" y="228564"/>
                      </a:cubicBezTo>
                      <a:lnTo>
                        <a:pt x="7012" y="228564"/>
                      </a:lnTo>
                      <a:cubicBezTo>
                        <a:pt x="5259" y="228564"/>
                        <a:pt x="3371" y="227890"/>
                        <a:pt x="2023" y="226541"/>
                      </a:cubicBezTo>
                      <a:cubicBezTo>
                        <a:pt x="674" y="225193"/>
                        <a:pt x="0" y="223305"/>
                        <a:pt x="0" y="221552"/>
                      </a:cubicBezTo>
                      <a:lnTo>
                        <a:pt x="0" y="7012"/>
                      </a:lnTo>
                      <a:close/>
                    </a:path>
                  </a:pathLst>
                </a:custGeom>
                <a:solidFill>
                  <a:srgbClr val="EA6552"/>
                </a:solidFill>
                <a:ln w="134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"/>
                </a:p>
              </p:txBody>
            </p:sp>
            <p:grpSp>
              <p:nvGrpSpPr>
                <p:cNvPr id="39" name="Gráfico 4">
                  <a:extLst>
                    <a:ext uri="{FF2B5EF4-FFF2-40B4-BE49-F238E27FC236}">
                      <a16:creationId xmlns:a16="http://schemas.microsoft.com/office/drawing/2014/main" id="{F71A8890-CAA7-E442-5DE0-314AC7D06F95}"/>
                    </a:ext>
                  </a:extLst>
                </p:cNvPr>
                <p:cNvGrpSpPr/>
                <p:nvPr/>
              </p:nvGrpSpPr>
              <p:grpSpPr>
                <a:xfrm>
                  <a:off x="8093689" y="1884592"/>
                  <a:ext cx="41532" cy="41532"/>
                  <a:chOff x="8093689" y="1884592"/>
                  <a:chExt cx="41532" cy="41532"/>
                </a:xfrm>
                <a:solidFill>
                  <a:schemeClr val="accent1"/>
                </a:solidFill>
              </p:grpSpPr>
              <p:sp>
                <p:nvSpPr>
                  <p:cNvPr id="51" name="Forma libre: forma 1681">
                    <a:extLst>
                      <a:ext uri="{FF2B5EF4-FFF2-40B4-BE49-F238E27FC236}">
                        <a16:creationId xmlns:a16="http://schemas.microsoft.com/office/drawing/2014/main" id="{BB2676D3-BAB9-5C73-3F7B-0DDAD80A2C42}"/>
                      </a:ext>
                    </a:extLst>
                  </p:cNvPr>
                  <p:cNvSpPr/>
                  <p:nvPr/>
                </p:nvSpPr>
                <p:spPr>
                  <a:xfrm>
                    <a:off x="8093689" y="1884592"/>
                    <a:ext cx="41532" cy="41532"/>
                  </a:xfrm>
                  <a:custGeom>
                    <a:avLst/>
                    <a:gdLst>
                      <a:gd name="connsiteX0" fmla="*/ 0 w 41532"/>
                      <a:gd name="connsiteY0" fmla="*/ 20766 h 41532"/>
                      <a:gd name="connsiteX1" fmla="*/ 20766 w 41532"/>
                      <a:gd name="connsiteY1" fmla="*/ 41533 h 41532"/>
                      <a:gd name="connsiteX2" fmla="*/ 41533 w 41532"/>
                      <a:gd name="connsiteY2" fmla="*/ 20766 h 41532"/>
                      <a:gd name="connsiteX3" fmla="*/ 20766 w 41532"/>
                      <a:gd name="connsiteY3" fmla="*/ 0 h 41532"/>
                      <a:gd name="connsiteX4" fmla="*/ 0 w 41532"/>
                      <a:gd name="connsiteY4" fmla="*/ 20766 h 415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532" h="41532">
                        <a:moveTo>
                          <a:pt x="0" y="20766"/>
                        </a:moveTo>
                        <a:cubicBezTo>
                          <a:pt x="0" y="32228"/>
                          <a:pt x="9304" y="41533"/>
                          <a:pt x="20766" y="41533"/>
                        </a:cubicBezTo>
                        <a:cubicBezTo>
                          <a:pt x="32228" y="41533"/>
                          <a:pt x="41533" y="32228"/>
                          <a:pt x="41533" y="20766"/>
                        </a:cubicBezTo>
                        <a:cubicBezTo>
                          <a:pt x="41533" y="9304"/>
                          <a:pt x="32228" y="0"/>
                          <a:pt x="20766" y="0"/>
                        </a:cubicBezTo>
                        <a:cubicBezTo>
                          <a:pt x="9304" y="0"/>
                          <a:pt x="0" y="9304"/>
                          <a:pt x="0" y="2076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1347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"/>
                  </a:p>
                </p:txBody>
              </p:sp>
              <p:sp>
                <p:nvSpPr>
                  <p:cNvPr id="52" name="Forma libre: forma 1682">
                    <a:extLst>
                      <a:ext uri="{FF2B5EF4-FFF2-40B4-BE49-F238E27FC236}">
                        <a16:creationId xmlns:a16="http://schemas.microsoft.com/office/drawing/2014/main" id="{5EB47230-B0D5-73B1-D024-1F6F2A0AAC33}"/>
                      </a:ext>
                    </a:extLst>
                  </p:cNvPr>
                  <p:cNvSpPr/>
                  <p:nvPr/>
                </p:nvSpPr>
                <p:spPr>
                  <a:xfrm>
                    <a:off x="8098948" y="1889849"/>
                    <a:ext cx="31014" cy="31016"/>
                  </a:xfrm>
                  <a:custGeom>
                    <a:avLst/>
                    <a:gdLst>
                      <a:gd name="connsiteX0" fmla="*/ 0 w 31014"/>
                      <a:gd name="connsiteY0" fmla="*/ 15509 h 31016"/>
                      <a:gd name="connsiteX1" fmla="*/ 15507 w 31014"/>
                      <a:gd name="connsiteY1" fmla="*/ 31017 h 31016"/>
                      <a:gd name="connsiteX2" fmla="*/ 31015 w 31014"/>
                      <a:gd name="connsiteY2" fmla="*/ 15509 h 31016"/>
                      <a:gd name="connsiteX3" fmla="*/ 15507 w 31014"/>
                      <a:gd name="connsiteY3" fmla="*/ 2 h 31016"/>
                      <a:gd name="connsiteX4" fmla="*/ 0 w 31014"/>
                      <a:gd name="connsiteY4" fmla="*/ 15509 h 310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014" h="31016">
                        <a:moveTo>
                          <a:pt x="0" y="15509"/>
                        </a:moveTo>
                        <a:cubicBezTo>
                          <a:pt x="0" y="24139"/>
                          <a:pt x="7012" y="31017"/>
                          <a:pt x="15507" y="31017"/>
                        </a:cubicBezTo>
                        <a:cubicBezTo>
                          <a:pt x="24137" y="31017"/>
                          <a:pt x="31015" y="24004"/>
                          <a:pt x="31015" y="15509"/>
                        </a:cubicBezTo>
                        <a:cubicBezTo>
                          <a:pt x="31015" y="6879"/>
                          <a:pt x="24003" y="2"/>
                          <a:pt x="15507" y="2"/>
                        </a:cubicBezTo>
                        <a:cubicBezTo>
                          <a:pt x="6877" y="-133"/>
                          <a:pt x="0" y="6879"/>
                          <a:pt x="0" y="15509"/>
                        </a:cubicBezTo>
                        <a:close/>
                      </a:path>
                    </a:pathLst>
                  </a:custGeom>
                  <a:solidFill>
                    <a:srgbClr val="1E262E"/>
                  </a:solidFill>
                  <a:ln w="1347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"/>
                  </a:p>
                </p:txBody>
              </p:sp>
            </p:grpSp>
            <p:grpSp>
              <p:nvGrpSpPr>
                <p:cNvPr id="40" name="Gráfico 4">
                  <a:extLst>
                    <a:ext uri="{FF2B5EF4-FFF2-40B4-BE49-F238E27FC236}">
                      <a16:creationId xmlns:a16="http://schemas.microsoft.com/office/drawing/2014/main" id="{58FC7BC5-C7DF-81E4-D38C-437687A22D77}"/>
                    </a:ext>
                  </a:extLst>
                </p:cNvPr>
                <p:cNvGrpSpPr/>
                <p:nvPr/>
              </p:nvGrpSpPr>
              <p:grpSpPr>
                <a:xfrm>
                  <a:off x="8090857" y="1727496"/>
                  <a:ext cx="47196" cy="139295"/>
                  <a:chOff x="8090857" y="1727496"/>
                  <a:chExt cx="47196" cy="139295"/>
                </a:xfrm>
                <a:solidFill>
                  <a:schemeClr val="accent1"/>
                </a:solidFill>
              </p:grpSpPr>
              <p:sp>
                <p:nvSpPr>
                  <p:cNvPr id="41" name="Forma libre: forma 1672">
                    <a:extLst>
                      <a:ext uri="{FF2B5EF4-FFF2-40B4-BE49-F238E27FC236}">
                        <a16:creationId xmlns:a16="http://schemas.microsoft.com/office/drawing/2014/main" id="{B44F0D00-D16C-5FF1-1B31-585CD28924F5}"/>
                      </a:ext>
                    </a:extLst>
                  </p:cNvPr>
                  <p:cNvSpPr/>
                  <p:nvPr/>
                </p:nvSpPr>
                <p:spPr>
                  <a:xfrm>
                    <a:off x="8090857" y="1727496"/>
                    <a:ext cx="47196" cy="139295"/>
                  </a:xfrm>
                  <a:custGeom>
                    <a:avLst/>
                    <a:gdLst>
                      <a:gd name="connsiteX0" fmla="*/ 0 w 47196"/>
                      <a:gd name="connsiteY0" fmla="*/ 0 h 139295"/>
                      <a:gd name="connsiteX1" fmla="*/ 47196 w 47196"/>
                      <a:gd name="connsiteY1" fmla="*/ 0 h 139295"/>
                      <a:gd name="connsiteX2" fmla="*/ 47196 w 47196"/>
                      <a:gd name="connsiteY2" fmla="*/ 139296 h 139295"/>
                      <a:gd name="connsiteX3" fmla="*/ 0 w 47196"/>
                      <a:gd name="connsiteY3" fmla="*/ 139296 h 1392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7196" h="139295">
                        <a:moveTo>
                          <a:pt x="0" y="0"/>
                        </a:moveTo>
                        <a:lnTo>
                          <a:pt x="47196" y="0"/>
                        </a:lnTo>
                        <a:lnTo>
                          <a:pt x="47196" y="139296"/>
                        </a:lnTo>
                        <a:lnTo>
                          <a:pt x="0" y="13929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347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"/>
                  </a:p>
                </p:txBody>
              </p:sp>
              <p:sp>
                <p:nvSpPr>
                  <p:cNvPr id="42" name="Forma libre: forma 1673">
                    <a:extLst>
                      <a:ext uri="{FF2B5EF4-FFF2-40B4-BE49-F238E27FC236}">
                        <a16:creationId xmlns:a16="http://schemas.microsoft.com/office/drawing/2014/main" id="{8563724A-DDA1-350A-3EA8-149F7684C1BB}"/>
                      </a:ext>
                    </a:extLst>
                  </p:cNvPr>
                  <p:cNvSpPr/>
                  <p:nvPr/>
                </p:nvSpPr>
                <p:spPr>
                  <a:xfrm>
                    <a:off x="8098678" y="1735317"/>
                    <a:ext cx="31419" cy="31419"/>
                  </a:xfrm>
                  <a:custGeom>
                    <a:avLst/>
                    <a:gdLst>
                      <a:gd name="connsiteX0" fmla="*/ 0 w 31419"/>
                      <a:gd name="connsiteY0" fmla="*/ 0 h 31419"/>
                      <a:gd name="connsiteX1" fmla="*/ 31419 w 31419"/>
                      <a:gd name="connsiteY1" fmla="*/ 0 h 31419"/>
                      <a:gd name="connsiteX2" fmla="*/ 31419 w 31419"/>
                      <a:gd name="connsiteY2" fmla="*/ 31419 h 31419"/>
                      <a:gd name="connsiteX3" fmla="*/ 0 w 31419"/>
                      <a:gd name="connsiteY3" fmla="*/ 31419 h 314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1419" h="31419">
                        <a:moveTo>
                          <a:pt x="0" y="0"/>
                        </a:moveTo>
                        <a:lnTo>
                          <a:pt x="31419" y="0"/>
                        </a:lnTo>
                        <a:lnTo>
                          <a:pt x="31419" y="31419"/>
                        </a:lnTo>
                        <a:lnTo>
                          <a:pt x="0" y="31419"/>
                        </a:lnTo>
                        <a:close/>
                      </a:path>
                    </a:pathLst>
                  </a:custGeom>
                  <a:solidFill>
                    <a:srgbClr val="CCCBCA"/>
                  </a:solidFill>
                  <a:ln w="1347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"/>
                  </a:p>
                </p:txBody>
              </p:sp>
              <p:sp>
                <p:nvSpPr>
                  <p:cNvPr id="44" name="Forma libre: forma 1674">
                    <a:extLst>
                      <a:ext uri="{FF2B5EF4-FFF2-40B4-BE49-F238E27FC236}">
                        <a16:creationId xmlns:a16="http://schemas.microsoft.com/office/drawing/2014/main" id="{8746792E-8A8B-8C4F-4708-86FFC8528901}"/>
                      </a:ext>
                    </a:extLst>
                  </p:cNvPr>
                  <p:cNvSpPr/>
                  <p:nvPr/>
                </p:nvSpPr>
                <p:spPr>
                  <a:xfrm>
                    <a:off x="8098678" y="1843194"/>
                    <a:ext cx="31419" cy="15776"/>
                  </a:xfrm>
                  <a:custGeom>
                    <a:avLst/>
                    <a:gdLst>
                      <a:gd name="connsiteX0" fmla="*/ 0 w 31419"/>
                      <a:gd name="connsiteY0" fmla="*/ 0 h 15776"/>
                      <a:gd name="connsiteX1" fmla="*/ 31419 w 31419"/>
                      <a:gd name="connsiteY1" fmla="*/ 0 h 15776"/>
                      <a:gd name="connsiteX2" fmla="*/ 31419 w 31419"/>
                      <a:gd name="connsiteY2" fmla="*/ 15777 h 15776"/>
                      <a:gd name="connsiteX3" fmla="*/ 0 w 31419"/>
                      <a:gd name="connsiteY3" fmla="*/ 15777 h 157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1419" h="15776">
                        <a:moveTo>
                          <a:pt x="0" y="0"/>
                        </a:moveTo>
                        <a:lnTo>
                          <a:pt x="31419" y="0"/>
                        </a:lnTo>
                        <a:lnTo>
                          <a:pt x="31419" y="15777"/>
                        </a:lnTo>
                        <a:lnTo>
                          <a:pt x="0" y="15777"/>
                        </a:lnTo>
                        <a:close/>
                      </a:path>
                    </a:pathLst>
                  </a:custGeom>
                  <a:solidFill>
                    <a:srgbClr val="CCCBCA"/>
                  </a:solidFill>
                  <a:ln w="1347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"/>
                  </a:p>
                </p:txBody>
              </p:sp>
              <p:grpSp>
                <p:nvGrpSpPr>
                  <p:cNvPr id="45" name="Gráfico 4">
                    <a:extLst>
                      <a:ext uri="{FF2B5EF4-FFF2-40B4-BE49-F238E27FC236}">
                        <a16:creationId xmlns:a16="http://schemas.microsoft.com/office/drawing/2014/main" id="{B415D22A-CE40-C172-1810-C6200B9A2EBD}"/>
                      </a:ext>
                    </a:extLst>
                  </p:cNvPr>
                  <p:cNvGrpSpPr/>
                  <p:nvPr/>
                </p:nvGrpSpPr>
                <p:grpSpPr>
                  <a:xfrm>
                    <a:off x="8098813" y="1771321"/>
                    <a:ext cx="31284" cy="40858"/>
                    <a:chOff x="8098813" y="1771321"/>
                    <a:chExt cx="31284" cy="40858"/>
                  </a:xfrm>
                  <a:solidFill>
                    <a:srgbClr val="CCCBCA"/>
                  </a:solidFill>
                </p:grpSpPr>
                <p:sp>
                  <p:nvSpPr>
                    <p:cNvPr id="46" name="Forma libre: forma 1676">
                      <a:extLst>
                        <a:ext uri="{FF2B5EF4-FFF2-40B4-BE49-F238E27FC236}">
                          <a16:creationId xmlns:a16="http://schemas.microsoft.com/office/drawing/2014/main" id="{4484881E-B913-ED1E-AEB9-B8F9EEFAF0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98813" y="1798560"/>
                      <a:ext cx="31284" cy="4584"/>
                    </a:xfrm>
                    <a:custGeom>
                      <a:avLst/>
                      <a:gdLst>
                        <a:gd name="connsiteX0" fmla="*/ 0 w 31284"/>
                        <a:gd name="connsiteY0" fmla="*/ 0 h 4584"/>
                        <a:gd name="connsiteX1" fmla="*/ 31284 w 31284"/>
                        <a:gd name="connsiteY1" fmla="*/ 0 h 4584"/>
                        <a:gd name="connsiteX2" fmla="*/ 31284 w 31284"/>
                        <a:gd name="connsiteY2" fmla="*/ 4585 h 4584"/>
                        <a:gd name="connsiteX3" fmla="*/ 0 w 31284"/>
                        <a:gd name="connsiteY3" fmla="*/ 4585 h 45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31284" h="4584">
                          <a:moveTo>
                            <a:pt x="0" y="0"/>
                          </a:moveTo>
                          <a:lnTo>
                            <a:pt x="31284" y="0"/>
                          </a:lnTo>
                          <a:lnTo>
                            <a:pt x="31284" y="4585"/>
                          </a:lnTo>
                          <a:lnTo>
                            <a:pt x="0" y="4585"/>
                          </a:lnTo>
                          <a:close/>
                        </a:path>
                      </a:pathLst>
                    </a:custGeom>
                    <a:solidFill>
                      <a:srgbClr val="CCCBCA"/>
                    </a:solidFill>
                    <a:ln w="1347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s-ES"/>
                    </a:p>
                  </p:txBody>
                </p:sp>
                <p:sp>
                  <p:nvSpPr>
                    <p:cNvPr id="47" name="Forma libre: forma 1677">
                      <a:extLst>
                        <a:ext uri="{FF2B5EF4-FFF2-40B4-BE49-F238E27FC236}">
                          <a16:creationId xmlns:a16="http://schemas.microsoft.com/office/drawing/2014/main" id="{CFFE5F8A-0878-542F-639E-20ED528EFFF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98813" y="1807595"/>
                      <a:ext cx="31284" cy="4584"/>
                    </a:xfrm>
                    <a:custGeom>
                      <a:avLst/>
                      <a:gdLst>
                        <a:gd name="connsiteX0" fmla="*/ 0 w 31284"/>
                        <a:gd name="connsiteY0" fmla="*/ 0 h 4584"/>
                        <a:gd name="connsiteX1" fmla="*/ 31284 w 31284"/>
                        <a:gd name="connsiteY1" fmla="*/ 0 h 4584"/>
                        <a:gd name="connsiteX2" fmla="*/ 31284 w 31284"/>
                        <a:gd name="connsiteY2" fmla="*/ 4585 h 4584"/>
                        <a:gd name="connsiteX3" fmla="*/ 0 w 31284"/>
                        <a:gd name="connsiteY3" fmla="*/ 4585 h 45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31284" h="4584">
                          <a:moveTo>
                            <a:pt x="0" y="0"/>
                          </a:moveTo>
                          <a:lnTo>
                            <a:pt x="31284" y="0"/>
                          </a:lnTo>
                          <a:lnTo>
                            <a:pt x="31284" y="4585"/>
                          </a:lnTo>
                          <a:lnTo>
                            <a:pt x="0" y="4585"/>
                          </a:lnTo>
                          <a:close/>
                        </a:path>
                      </a:pathLst>
                    </a:custGeom>
                    <a:solidFill>
                      <a:srgbClr val="CCCBCA"/>
                    </a:solidFill>
                    <a:ln w="1347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s-ES"/>
                    </a:p>
                  </p:txBody>
                </p:sp>
                <p:sp>
                  <p:nvSpPr>
                    <p:cNvPr id="48" name="Forma libre: forma 1678">
                      <a:extLst>
                        <a:ext uri="{FF2B5EF4-FFF2-40B4-BE49-F238E27FC236}">
                          <a16:creationId xmlns:a16="http://schemas.microsoft.com/office/drawing/2014/main" id="{B336A660-5C1E-E34C-19EF-FEE4FC32763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98813" y="1789525"/>
                      <a:ext cx="31284" cy="4584"/>
                    </a:xfrm>
                    <a:custGeom>
                      <a:avLst/>
                      <a:gdLst>
                        <a:gd name="connsiteX0" fmla="*/ 0 w 31284"/>
                        <a:gd name="connsiteY0" fmla="*/ 0 h 4584"/>
                        <a:gd name="connsiteX1" fmla="*/ 31284 w 31284"/>
                        <a:gd name="connsiteY1" fmla="*/ 0 h 4584"/>
                        <a:gd name="connsiteX2" fmla="*/ 31284 w 31284"/>
                        <a:gd name="connsiteY2" fmla="*/ 4585 h 4584"/>
                        <a:gd name="connsiteX3" fmla="*/ 0 w 31284"/>
                        <a:gd name="connsiteY3" fmla="*/ 4585 h 45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31284" h="4584">
                          <a:moveTo>
                            <a:pt x="0" y="0"/>
                          </a:moveTo>
                          <a:lnTo>
                            <a:pt x="31284" y="0"/>
                          </a:lnTo>
                          <a:lnTo>
                            <a:pt x="31284" y="4585"/>
                          </a:lnTo>
                          <a:lnTo>
                            <a:pt x="0" y="4585"/>
                          </a:lnTo>
                          <a:close/>
                        </a:path>
                      </a:pathLst>
                    </a:custGeom>
                    <a:solidFill>
                      <a:srgbClr val="CCCBCA"/>
                    </a:solidFill>
                    <a:ln w="1347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s-ES"/>
                    </a:p>
                  </p:txBody>
                </p:sp>
                <p:sp>
                  <p:nvSpPr>
                    <p:cNvPr id="49" name="Forma libre: forma 1679">
                      <a:extLst>
                        <a:ext uri="{FF2B5EF4-FFF2-40B4-BE49-F238E27FC236}">
                          <a16:creationId xmlns:a16="http://schemas.microsoft.com/office/drawing/2014/main" id="{50D42C6E-16FE-2400-80B9-A422D46D241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98813" y="1780356"/>
                      <a:ext cx="31284" cy="4584"/>
                    </a:xfrm>
                    <a:custGeom>
                      <a:avLst/>
                      <a:gdLst>
                        <a:gd name="connsiteX0" fmla="*/ 0 w 31284"/>
                        <a:gd name="connsiteY0" fmla="*/ 0 h 4584"/>
                        <a:gd name="connsiteX1" fmla="*/ 31284 w 31284"/>
                        <a:gd name="connsiteY1" fmla="*/ 0 h 4584"/>
                        <a:gd name="connsiteX2" fmla="*/ 31284 w 31284"/>
                        <a:gd name="connsiteY2" fmla="*/ 4585 h 4584"/>
                        <a:gd name="connsiteX3" fmla="*/ 0 w 31284"/>
                        <a:gd name="connsiteY3" fmla="*/ 4585 h 45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31284" h="4584">
                          <a:moveTo>
                            <a:pt x="0" y="0"/>
                          </a:moveTo>
                          <a:lnTo>
                            <a:pt x="31284" y="0"/>
                          </a:lnTo>
                          <a:lnTo>
                            <a:pt x="31284" y="4585"/>
                          </a:lnTo>
                          <a:lnTo>
                            <a:pt x="0" y="4585"/>
                          </a:lnTo>
                          <a:close/>
                        </a:path>
                      </a:pathLst>
                    </a:custGeom>
                    <a:solidFill>
                      <a:srgbClr val="CCCBCA"/>
                    </a:solidFill>
                    <a:ln w="1347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s-ES"/>
                    </a:p>
                  </p:txBody>
                </p:sp>
                <p:sp>
                  <p:nvSpPr>
                    <p:cNvPr id="50" name="Forma libre: forma 1680">
                      <a:extLst>
                        <a:ext uri="{FF2B5EF4-FFF2-40B4-BE49-F238E27FC236}">
                          <a16:creationId xmlns:a16="http://schemas.microsoft.com/office/drawing/2014/main" id="{7C4E3653-3CC6-5984-EE30-2BCDD4B6A7E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98813" y="1771321"/>
                      <a:ext cx="31284" cy="4584"/>
                    </a:xfrm>
                    <a:custGeom>
                      <a:avLst/>
                      <a:gdLst>
                        <a:gd name="connsiteX0" fmla="*/ 0 w 31284"/>
                        <a:gd name="connsiteY0" fmla="*/ 0 h 4584"/>
                        <a:gd name="connsiteX1" fmla="*/ 31284 w 31284"/>
                        <a:gd name="connsiteY1" fmla="*/ 0 h 4584"/>
                        <a:gd name="connsiteX2" fmla="*/ 31284 w 31284"/>
                        <a:gd name="connsiteY2" fmla="*/ 4585 h 4584"/>
                        <a:gd name="connsiteX3" fmla="*/ 0 w 31284"/>
                        <a:gd name="connsiteY3" fmla="*/ 4585 h 45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31284" h="4584">
                          <a:moveTo>
                            <a:pt x="0" y="0"/>
                          </a:moveTo>
                          <a:lnTo>
                            <a:pt x="31284" y="0"/>
                          </a:lnTo>
                          <a:lnTo>
                            <a:pt x="31284" y="4585"/>
                          </a:lnTo>
                          <a:lnTo>
                            <a:pt x="0" y="4585"/>
                          </a:lnTo>
                          <a:close/>
                        </a:path>
                      </a:pathLst>
                    </a:custGeom>
                    <a:solidFill>
                      <a:srgbClr val="CCCBCA"/>
                    </a:solidFill>
                    <a:ln w="1347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s-ES"/>
                    </a:p>
                  </p:txBody>
                </p:sp>
              </p:grpSp>
            </p:grpSp>
          </p:grpSp>
          <p:grpSp>
            <p:nvGrpSpPr>
              <p:cNvPr id="22" name="Gráfico 4">
                <a:extLst>
                  <a:ext uri="{FF2B5EF4-FFF2-40B4-BE49-F238E27FC236}">
                    <a16:creationId xmlns:a16="http://schemas.microsoft.com/office/drawing/2014/main" id="{4B15A312-2DFB-0449-763B-44729D632E83}"/>
                  </a:ext>
                </a:extLst>
              </p:cNvPr>
              <p:cNvGrpSpPr/>
              <p:nvPr/>
            </p:nvGrpSpPr>
            <p:grpSpPr>
              <a:xfrm>
                <a:off x="7926918" y="1710135"/>
                <a:ext cx="151888" cy="233739"/>
                <a:chOff x="7926918" y="1710135"/>
                <a:chExt cx="151888" cy="233739"/>
              </a:xfrm>
              <a:solidFill>
                <a:schemeClr val="accent1"/>
              </a:solidFill>
            </p:grpSpPr>
            <p:sp>
              <p:nvSpPr>
                <p:cNvPr id="24" name="Forma libre: forma 1655">
                  <a:extLst>
                    <a:ext uri="{FF2B5EF4-FFF2-40B4-BE49-F238E27FC236}">
                      <a16:creationId xmlns:a16="http://schemas.microsoft.com/office/drawing/2014/main" id="{5950A2FB-4503-A2BA-74F7-30C311EFDC03}"/>
                    </a:ext>
                  </a:extLst>
                </p:cNvPr>
                <p:cNvSpPr/>
                <p:nvPr/>
              </p:nvSpPr>
              <p:spPr>
                <a:xfrm>
                  <a:off x="7926918" y="1710135"/>
                  <a:ext cx="151888" cy="233739"/>
                </a:xfrm>
                <a:custGeom>
                  <a:avLst/>
                  <a:gdLst>
                    <a:gd name="connsiteX0" fmla="*/ 85593 w 151888"/>
                    <a:gd name="connsiteY0" fmla="*/ 4281 h 233739"/>
                    <a:gd name="connsiteX1" fmla="*/ 89504 w 151888"/>
                    <a:gd name="connsiteY1" fmla="*/ 506 h 233739"/>
                    <a:gd name="connsiteX2" fmla="*/ 94898 w 151888"/>
                    <a:gd name="connsiteY2" fmla="*/ 506 h 233739"/>
                    <a:gd name="connsiteX3" fmla="*/ 147623 w 151888"/>
                    <a:gd name="connsiteY3" fmla="*/ 23295 h 233739"/>
                    <a:gd name="connsiteX4" fmla="*/ 151398 w 151888"/>
                    <a:gd name="connsiteY4" fmla="*/ 27205 h 233739"/>
                    <a:gd name="connsiteX5" fmla="*/ 151263 w 151888"/>
                    <a:gd name="connsiteY5" fmla="*/ 32599 h 233739"/>
                    <a:gd name="connsiteX6" fmla="*/ 66310 w 151888"/>
                    <a:gd name="connsiteY6" fmla="*/ 229474 h 233739"/>
                    <a:gd name="connsiteX7" fmla="*/ 62400 w 151888"/>
                    <a:gd name="connsiteY7" fmla="*/ 233250 h 233739"/>
                    <a:gd name="connsiteX8" fmla="*/ 57006 w 151888"/>
                    <a:gd name="connsiteY8" fmla="*/ 233115 h 233739"/>
                    <a:gd name="connsiteX9" fmla="*/ 4281 w 151888"/>
                    <a:gd name="connsiteY9" fmla="*/ 210326 h 233739"/>
                    <a:gd name="connsiteX10" fmla="*/ 506 w 151888"/>
                    <a:gd name="connsiteY10" fmla="*/ 206415 h 233739"/>
                    <a:gd name="connsiteX11" fmla="*/ 506 w 151888"/>
                    <a:gd name="connsiteY11" fmla="*/ 201022 h 233739"/>
                    <a:gd name="connsiteX12" fmla="*/ 85593 w 151888"/>
                    <a:gd name="connsiteY12" fmla="*/ 4281 h 2337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51888" h="233739">
                      <a:moveTo>
                        <a:pt x="85593" y="4281"/>
                      </a:moveTo>
                      <a:cubicBezTo>
                        <a:pt x="86268" y="2663"/>
                        <a:pt x="87616" y="1180"/>
                        <a:pt x="89504" y="506"/>
                      </a:cubicBezTo>
                      <a:cubicBezTo>
                        <a:pt x="91257" y="-169"/>
                        <a:pt x="93280" y="-169"/>
                        <a:pt x="94898" y="506"/>
                      </a:cubicBezTo>
                      <a:lnTo>
                        <a:pt x="147623" y="23295"/>
                      </a:lnTo>
                      <a:cubicBezTo>
                        <a:pt x="149241" y="23969"/>
                        <a:pt x="150589" y="25317"/>
                        <a:pt x="151398" y="27205"/>
                      </a:cubicBezTo>
                      <a:cubicBezTo>
                        <a:pt x="152072" y="28958"/>
                        <a:pt x="152072" y="30981"/>
                        <a:pt x="151263" y="32599"/>
                      </a:cubicBezTo>
                      <a:lnTo>
                        <a:pt x="66310" y="229474"/>
                      </a:lnTo>
                      <a:cubicBezTo>
                        <a:pt x="65636" y="231092"/>
                        <a:pt x="64288" y="232576"/>
                        <a:pt x="62400" y="233250"/>
                      </a:cubicBezTo>
                      <a:cubicBezTo>
                        <a:pt x="60647" y="233924"/>
                        <a:pt x="58624" y="233924"/>
                        <a:pt x="57006" y="233115"/>
                      </a:cubicBezTo>
                      <a:lnTo>
                        <a:pt x="4281" y="210326"/>
                      </a:lnTo>
                      <a:cubicBezTo>
                        <a:pt x="2663" y="209652"/>
                        <a:pt x="1180" y="208303"/>
                        <a:pt x="506" y="206415"/>
                      </a:cubicBezTo>
                      <a:cubicBezTo>
                        <a:pt x="-169" y="204663"/>
                        <a:pt x="-169" y="202640"/>
                        <a:pt x="506" y="201022"/>
                      </a:cubicBezTo>
                      <a:lnTo>
                        <a:pt x="85593" y="4281"/>
                      </a:lnTo>
                      <a:close/>
                    </a:path>
                  </a:pathLst>
                </a:custGeom>
                <a:solidFill>
                  <a:srgbClr val="343B43"/>
                </a:solidFill>
                <a:ln w="134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"/>
                </a:p>
              </p:txBody>
            </p:sp>
            <p:grpSp>
              <p:nvGrpSpPr>
                <p:cNvPr id="25" name="Gráfico 4">
                  <a:extLst>
                    <a:ext uri="{FF2B5EF4-FFF2-40B4-BE49-F238E27FC236}">
                      <a16:creationId xmlns:a16="http://schemas.microsoft.com/office/drawing/2014/main" id="{CD6677D0-0F82-87EF-795E-207BE79B21CD}"/>
                    </a:ext>
                  </a:extLst>
                </p:cNvPr>
                <p:cNvGrpSpPr/>
                <p:nvPr/>
              </p:nvGrpSpPr>
              <p:grpSpPr>
                <a:xfrm>
                  <a:off x="7952182" y="1875851"/>
                  <a:ext cx="41426" cy="41483"/>
                  <a:chOff x="7952182" y="1875851"/>
                  <a:chExt cx="41426" cy="41483"/>
                </a:xfrm>
                <a:solidFill>
                  <a:schemeClr val="accent1"/>
                </a:solidFill>
              </p:grpSpPr>
              <p:sp>
                <p:nvSpPr>
                  <p:cNvPr id="36" name="Forma libre: forma 1667">
                    <a:extLst>
                      <a:ext uri="{FF2B5EF4-FFF2-40B4-BE49-F238E27FC236}">
                        <a16:creationId xmlns:a16="http://schemas.microsoft.com/office/drawing/2014/main" id="{3CE8ED8A-5EDA-8CFA-9102-21CC85B7E506}"/>
                      </a:ext>
                    </a:extLst>
                  </p:cNvPr>
                  <p:cNvSpPr/>
                  <p:nvPr/>
                </p:nvSpPr>
                <p:spPr>
                  <a:xfrm>
                    <a:off x="7952182" y="1875851"/>
                    <a:ext cx="41426" cy="41483"/>
                  </a:xfrm>
                  <a:custGeom>
                    <a:avLst/>
                    <a:gdLst>
                      <a:gd name="connsiteX0" fmla="*/ 1671 w 41426"/>
                      <a:gd name="connsiteY0" fmla="*/ 12516 h 41483"/>
                      <a:gd name="connsiteX1" fmla="*/ 12459 w 41426"/>
                      <a:gd name="connsiteY1" fmla="*/ 39755 h 41483"/>
                      <a:gd name="connsiteX2" fmla="*/ 39698 w 41426"/>
                      <a:gd name="connsiteY2" fmla="*/ 28968 h 41483"/>
                      <a:gd name="connsiteX3" fmla="*/ 28910 w 41426"/>
                      <a:gd name="connsiteY3" fmla="*/ 1729 h 41483"/>
                      <a:gd name="connsiteX4" fmla="*/ 1671 w 41426"/>
                      <a:gd name="connsiteY4" fmla="*/ 12516 h 414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426" h="41483">
                        <a:moveTo>
                          <a:pt x="1671" y="12516"/>
                        </a:moveTo>
                        <a:cubicBezTo>
                          <a:pt x="-2779" y="23034"/>
                          <a:pt x="1941" y="35171"/>
                          <a:pt x="12459" y="39755"/>
                        </a:cubicBezTo>
                        <a:cubicBezTo>
                          <a:pt x="22977" y="44340"/>
                          <a:pt x="35113" y="39485"/>
                          <a:pt x="39698" y="28968"/>
                        </a:cubicBezTo>
                        <a:cubicBezTo>
                          <a:pt x="44283" y="18450"/>
                          <a:pt x="39428" y="6314"/>
                          <a:pt x="28910" y="1729"/>
                        </a:cubicBezTo>
                        <a:cubicBezTo>
                          <a:pt x="18392" y="-2856"/>
                          <a:pt x="6256" y="1998"/>
                          <a:pt x="1671" y="1251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1347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"/>
                  </a:p>
                </p:txBody>
              </p:sp>
              <p:sp>
                <p:nvSpPr>
                  <p:cNvPr id="37" name="Forma libre: forma 1668">
                    <a:extLst>
                      <a:ext uri="{FF2B5EF4-FFF2-40B4-BE49-F238E27FC236}">
                        <a16:creationId xmlns:a16="http://schemas.microsoft.com/office/drawing/2014/main" id="{FDE46CE1-7B53-89F0-6BE1-DC80FB09D068}"/>
                      </a:ext>
                    </a:extLst>
                  </p:cNvPr>
                  <p:cNvSpPr/>
                  <p:nvPr/>
                </p:nvSpPr>
                <p:spPr>
                  <a:xfrm>
                    <a:off x="7957315" y="1880964"/>
                    <a:ext cx="30968" cy="31045"/>
                  </a:xfrm>
                  <a:custGeom>
                    <a:avLst/>
                    <a:gdLst>
                      <a:gd name="connsiteX0" fmla="*/ 1258 w 30968"/>
                      <a:gd name="connsiteY0" fmla="*/ 9426 h 31045"/>
                      <a:gd name="connsiteX1" fmla="*/ 9349 w 30968"/>
                      <a:gd name="connsiteY1" fmla="*/ 29788 h 31045"/>
                      <a:gd name="connsiteX2" fmla="*/ 29711 w 30968"/>
                      <a:gd name="connsiteY2" fmla="*/ 21697 h 31045"/>
                      <a:gd name="connsiteX3" fmla="*/ 21620 w 30968"/>
                      <a:gd name="connsiteY3" fmla="*/ 1335 h 31045"/>
                      <a:gd name="connsiteX4" fmla="*/ 1258 w 30968"/>
                      <a:gd name="connsiteY4" fmla="*/ 9426 h 310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968" h="31045">
                        <a:moveTo>
                          <a:pt x="1258" y="9426"/>
                        </a:moveTo>
                        <a:cubicBezTo>
                          <a:pt x="-2113" y="17247"/>
                          <a:pt x="1528" y="26416"/>
                          <a:pt x="9349" y="29788"/>
                        </a:cubicBezTo>
                        <a:cubicBezTo>
                          <a:pt x="17170" y="33159"/>
                          <a:pt x="26339" y="29518"/>
                          <a:pt x="29711" y="21697"/>
                        </a:cubicBezTo>
                        <a:cubicBezTo>
                          <a:pt x="33082" y="13876"/>
                          <a:pt x="29441" y="4706"/>
                          <a:pt x="21620" y="1335"/>
                        </a:cubicBezTo>
                        <a:cubicBezTo>
                          <a:pt x="13799" y="-2171"/>
                          <a:pt x="4764" y="1470"/>
                          <a:pt x="1258" y="9426"/>
                        </a:cubicBezTo>
                        <a:close/>
                      </a:path>
                    </a:pathLst>
                  </a:custGeom>
                  <a:solidFill>
                    <a:srgbClr val="1E262E"/>
                  </a:solidFill>
                  <a:ln w="1347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"/>
                  </a:p>
                </p:txBody>
              </p:sp>
            </p:grpSp>
            <p:grpSp>
              <p:nvGrpSpPr>
                <p:cNvPr id="26" name="Gráfico 4">
                  <a:extLst>
                    <a:ext uri="{FF2B5EF4-FFF2-40B4-BE49-F238E27FC236}">
                      <a16:creationId xmlns:a16="http://schemas.microsoft.com/office/drawing/2014/main" id="{D530E5B2-3191-E583-20F6-263845F02309}"/>
                    </a:ext>
                  </a:extLst>
                </p:cNvPr>
                <p:cNvGrpSpPr/>
                <p:nvPr/>
              </p:nvGrpSpPr>
              <p:grpSpPr>
                <a:xfrm>
                  <a:off x="7966529" y="1723751"/>
                  <a:ext cx="98510" cy="146595"/>
                  <a:chOff x="7966529" y="1723751"/>
                  <a:chExt cx="98510" cy="146595"/>
                </a:xfrm>
                <a:solidFill>
                  <a:schemeClr val="accent1"/>
                </a:solidFill>
              </p:grpSpPr>
              <p:sp>
                <p:nvSpPr>
                  <p:cNvPr id="27" name="Forma libre: forma 1658">
                    <a:extLst>
                      <a:ext uri="{FF2B5EF4-FFF2-40B4-BE49-F238E27FC236}">
                        <a16:creationId xmlns:a16="http://schemas.microsoft.com/office/drawing/2014/main" id="{45808479-B338-05DD-D516-F53B790ABAF7}"/>
                      </a:ext>
                    </a:extLst>
                  </p:cNvPr>
                  <p:cNvSpPr/>
                  <p:nvPr/>
                </p:nvSpPr>
                <p:spPr>
                  <a:xfrm>
                    <a:off x="7966529" y="1723751"/>
                    <a:ext cx="98510" cy="146595"/>
                  </a:xfrm>
                  <a:custGeom>
                    <a:avLst/>
                    <a:gdLst>
                      <a:gd name="connsiteX0" fmla="*/ 0 w 98510"/>
                      <a:gd name="connsiteY0" fmla="*/ 127902 h 146595"/>
                      <a:gd name="connsiteX1" fmla="*/ 55175 w 98510"/>
                      <a:gd name="connsiteY1" fmla="*/ 0 h 146595"/>
                      <a:gd name="connsiteX2" fmla="*/ 98511 w 98510"/>
                      <a:gd name="connsiteY2" fmla="*/ 18694 h 146595"/>
                      <a:gd name="connsiteX3" fmla="*/ 43335 w 98510"/>
                      <a:gd name="connsiteY3" fmla="*/ 146596 h 1465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8510" h="146595">
                        <a:moveTo>
                          <a:pt x="0" y="127902"/>
                        </a:moveTo>
                        <a:lnTo>
                          <a:pt x="55175" y="0"/>
                        </a:lnTo>
                        <a:lnTo>
                          <a:pt x="98511" y="18694"/>
                        </a:lnTo>
                        <a:lnTo>
                          <a:pt x="43335" y="14659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347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"/>
                  </a:p>
                </p:txBody>
              </p:sp>
              <p:sp>
                <p:nvSpPr>
                  <p:cNvPr id="28" name="Forma libre: forma 1659">
                    <a:extLst>
                      <a:ext uri="{FF2B5EF4-FFF2-40B4-BE49-F238E27FC236}">
                        <a16:creationId xmlns:a16="http://schemas.microsoft.com/office/drawing/2014/main" id="{ED07A6D1-C43C-33CA-B169-A8E6D758347C}"/>
                      </a:ext>
                    </a:extLst>
                  </p:cNvPr>
                  <p:cNvSpPr/>
                  <p:nvPr/>
                </p:nvSpPr>
                <p:spPr>
                  <a:xfrm>
                    <a:off x="8013348" y="1734063"/>
                    <a:ext cx="41297" cy="41297"/>
                  </a:xfrm>
                  <a:custGeom>
                    <a:avLst/>
                    <a:gdLst>
                      <a:gd name="connsiteX0" fmla="*/ 0 w 41297"/>
                      <a:gd name="connsiteY0" fmla="*/ 28849 h 41297"/>
                      <a:gd name="connsiteX1" fmla="*/ 12448 w 41297"/>
                      <a:gd name="connsiteY1" fmla="*/ 0 h 41297"/>
                      <a:gd name="connsiteX2" fmla="*/ 41297 w 41297"/>
                      <a:gd name="connsiteY2" fmla="*/ 12448 h 41297"/>
                      <a:gd name="connsiteX3" fmla="*/ 28849 w 41297"/>
                      <a:gd name="connsiteY3" fmla="*/ 41297 h 412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297" h="41297">
                        <a:moveTo>
                          <a:pt x="0" y="28849"/>
                        </a:moveTo>
                        <a:lnTo>
                          <a:pt x="12448" y="0"/>
                        </a:lnTo>
                        <a:lnTo>
                          <a:pt x="41297" y="12448"/>
                        </a:lnTo>
                        <a:lnTo>
                          <a:pt x="28849" y="41297"/>
                        </a:lnTo>
                        <a:close/>
                      </a:path>
                    </a:pathLst>
                  </a:custGeom>
                  <a:solidFill>
                    <a:srgbClr val="CCCBCA"/>
                  </a:solidFill>
                  <a:ln w="1347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"/>
                  </a:p>
                </p:txBody>
              </p:sp>
              <p:sp>
                <p:nvSpPr>
                  <p:cNvPr id="29" name="Forma libre: forma 1660">
                    <a:extLst>
                      <a:ext uri="{FF2B5EF4-FFF2-40B4-BE49-F238E27FC236}">
                        <a16:creationId xmlns:a16="http://schemas.microsoft.com/office/drawing/2014/main" id="{C247FC22-DE02-2A82-94F9-BEEA732F5278}"/>
                      </a:ext>
                    </a:extLst>
                  </p:cNvPr>
                  <p:cNvSpPr/>
                  <p:nvPr/>
                </p:nvSpPr>
                <p:spPr>
                  <a:xfrm>
                    <a:off x="7976705" y="1833313"/>
                    <a:ext cx="35043" cy="26799"/>
                  </a:xfrm>
                  <a:custGeom>
                    <a:avLst/>
                    <a:gdLst>
                      <a:gd name="connsiteX0" fmla="*/ 0 w 35043"/>
                      <a:gd name="connsiteY0" fmla="*/ 14364 h 26799"/>
                      <a:gd name="connsiteX1" fmla="*/ 6191 w 35043"/>
                      <a:gd name="connsiteY1" fmla="*/ 0 h 26799"/>
                      <a:gd name="connsiteX2" fmla="*/ 35043 w 35043"/>
                      <a:gd name="connsiteY2" fmla="*/ 12436 h 26799"/>
                      <a:gd name="connsiteX3" fmla="*/ 28852 w 35043"/>
                      <a:gd name="connsiteY3" fmla="*/ 26800 h 267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5043" h="26799">
                        <a:moveTo>
                          <a:pt x="0" y="14364"/>
                        </a:moveTo>
                        <a:lnTo>
                          <a:pt x="6191" y="0"/>
                        </a:lnTo>
                        <a:lnTo>
                          <a:pt x="35043" y="12436"/>
                        </a:lnTo>
                        <a:lnTo>
                          <a:pt x="28852" y="26800"/>
                        </a:lnTo>
                        <a:close/>
                      </a:path>
                    </a:pathLst>
                  </a:custGeom>
                  <a:solidFill>
                    <a:srgbClr val="CCCBCA"/>
                  </a:solidFill>
                  <a:ln w="1347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"/>
                  </a:p>
                </p:txBody>
              </p:sp>
              <p:grpSp>
                <p:nvGrpSpPr>
                  <p:cNvPr id="30" name="Gráfico 4">
                    <a:extLst>
                      <a:ext uri="{FF2B5EF4-FFF2-40B4-BE49-F238E27FC236}">
                        <a16:creationId xmlns:a16="http://schemas.microsoft.com/office/drawing/2014/main" id="{749938ED-92AA-FC41-A461-8CB38B3B1BD7}"/>
                      </a:ext>
                    </a:extLst>
                  </p:cNvPr>
                  <p:cNvGrpSpPr/>
                  <p:nvPr/>
                </p:nvGrpSpPr>
                <p:grpSpPr>
                  <a:xfrm>
                    <a:off x="7995386" y="1767276"/>
                    <a:ext cx="45038" cy="50027"/>
                    <a:chOff x="7995386" y="1767276"/>
                    <a:chExt cx="45038" cy="50027"/>
                  </a:xfrm>
                  <a:solidFill>
                    <a:srgbClr val="CCCBCA"/>
                  </a:solidFill>
                </p:grpSpPr>
                <p:sp>
                  <p:nvSpPr>
                    <p:cNvPr id="31" name="Forma libre: forma 1662">
                      <a:extLst>
                        <a:ext uri="{FF2B5EF4-FFF2-40B4-BE49-F238E27FC236}">
                          <a16:creationId xmlns:a16="http://schemas.microsoft.com/office/drawing/2014/main" id="{D196FC38-EAE3-526C-C0F1-79C9E46FB9D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999027" y="1792357"/>
                      <a:ext cx="30610" cy="16585"/>
                    </a:xfrm>
                    <a:custGeom>
                      <a:avLst/>
                      <a:gdLst>
                        <a:gd name="connsiteX0" fmla="*/ 1888 w 30610"/>
                        <a:gd name="connsiteY0" fmla="*/ 0 h 16585"/>
                        <a:gd name="connsiteX1" fmla="*/ 30610 w 30610"/>
                        <a:gd name="connsiteY1" fmla="*/ 12406 h 16585"/>
                        <a:gd name="connsiteX2" fmla="*/ 28722 w 30610"/>
                        <a:gd name="connsiteY2" fmla="*/ 16586 h 16585"/>
                        <a:gd name="connsiteX3" fmla="*/ 0 w 30610"/>
                        <a:gd name="connsiteY3" fmla="*/ 4180 h 1658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30610" h="16585">
                          <a:moveTo>
                            <a:pt x="1888" y="0"/>
                          </a:moveTo>
                          <a:lnTo>
                            <a:pt x="30610" y="12406"/>
                          </a:lnTo>
                          <a:lnTo>
                            <a:pt x="28722" y="16586"/>
                          </a:lnTo>
                          <a:lnTo>
                            <a:pt x="0" y="4180"/>
                          </a:lnTo>
                          <a:close/>
                        </a:path>
                      </a:pathLst>
                    </a:custGeom>
                    <a:solidFill>
                      <a:srgbClr val="CCCBCA"/>
                    </a:solidFill>
                    <a:ln w="1347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s-ES"/>
                    </a:p>
                  </p:txBody>
                </p:sp>
                <p:sp>
                  <p:nvSpPr>
                    <p:cNvPr id="32" name="Forma libre: forma 1663">
                      <a:extLst>
                        <a:ext uri="{FF2B5EF4-FFF2-40B4-BE49-F238E27FC236}">
                          <a16:creationId xmlns:a16="http://schemas.microsoft.com/office/drawing/2014/main" id="{23DC1747-A5EC-0EE8-B0AB-D25D59E24A2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995386" y="1800718"/>
                      <a:ext cx="30609" cy="16585"/>
                    </a:xfrm>
                    <a:custGeom>
                      <a:avLst/>
                      <a:gdLst>
                        <a:gd name="connsiteX0" fmla="*/ 1888 w 30609"/>
                        <a:gd name="connsiteY0" fmla="*/ 0 h 16585"/>
                        <a:gd name="connsiteX1" fmla="*/ 30610 w 30609"/>
                        <a:gd name="connsiteY1" fmla="*/ 12406 h 16585"/>
                        <a:gd name="connsiteX2" fmla="*/ 28857 w 30609"/>
                        <a:gd name="connsiteY2" fmla="*/ 16586 h 16585"/>
                        <a:gd name="connsiteX3" fmla="*/ 0 w 30609"/>
                        <a:gd name="connsiteY3" fmla="*/ 4180 h 1658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30609" h="16585">
                          <a:moveTo>
                            <a:pt x="1888" y="0"/>
                          </a:moveTo>
                          <a:lnTo>
                            <a:pt x="30610" y="12406"/>
                          </a:lnTo>
                          <a:lnTo>
                            <a:pt x="28857" y="16586"/>
                          </a:lnTo>
                          <a:lnTo>
                            <a:pt x="0" y="4180"/>
                          </a:lnTo>
                          <a:close/>
                        </a:path>
                      </a:pathLst>
                    </a:custGeom>
                    <a:solidFill>
                      <a:srgbClr val="CCCBCA"/>
                    </a:solidFill>
                    <a:ln w="1347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s-ES"/>
                    </a:p>
                  </p:txBody>
                </p:sp>
                <p:sp>
                  <p:nvSpPr>
                    <p:cNvPr id="33" name="Forma libre: forma 1664">
                      <a:extLst>
                        <a:ext uri="{FF2B5EF4-FFF2-40B4-BE49-F238E27FC236}">
                          <a16:creationId xmlns:a16="http://schemas.microsoft.com/office/drawing/2014/main" id="{9D8B7E6B-1C68-6074-D81C-1806483D853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02519" y="1783965"/>
                      <a:ext cx="30542" cy="16592"/>
                    </a:xfrm>
                    <a:custGeom>
                      <a:avLst/>
                      <a:gdLst>
                        <a:gd name="connsiteX0" fmla="*/ 0 w 30542"/>
                        <a:gd name="connsiteY0" fmla="*/ 4210 h 16592"/>
                        <a:gd name="connsiteX1" fmla="*/ 1815 w 30542"/>
                        <a:gd name="connsiteY1" fmla="*/ 0 h 16592"/>
                        <a:gd name="connsiteX2" fmla="*/ 30543 w 30542"/>
                        <a:gd name="connsiteY2" fmla="*/ 12382 h 16592"/>
                        <a:gd name="connsiteX3" fmla="*/ 28728 w 30542"/>
                        <a:gd name="connsiteY3" fmla="*/ 16593 h 165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30542" h="16592">
                          <a:moveTo>
                            <a:pt x="0" y="4210"/>
                          </a:moveTo>
                          <a:lnTo>
                            <a:pt x="1815" y="0"/>
                          </a:lnTo>
                          <a:lnTo>
                            <a:pt x="30543" y="12382"/>
                          </a:lnTo>
                          <a:lnTo>
                            <a:pt x="28728" y="16593"/>
                          </a:lnTo>
                          <a:close/>
                        </a:path>
                      </a:pathLst>
                    </a:custGeom>
                    <a:solidFill>
                      <a:srgbClr val="CCCBCA"/>
                    </a:solidFill>
                    <a:ln w="1347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s-ES"/>
                    </a:p>
                  </p:txBody>
                </p:sp>
                <p:sp>
                  <p:nvSpPr>
                    <p:cNvPr id="34" name="Forma libre: forma 1665">
                      <a:extLst>
                        <a:ext uri="{FF2B5EF4-FFF2-40B4-BE49-F238E27FC236}">
                          <a16:creationId xmlns:a16="http://schemas.microsoft.com/office/drawing/2014/main" id="{0AF77556-9FC5-D2AE-72C7-0B2283B62BB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06117" y="1775546"/>
                      <a:ext cx="30542" cy="16592"/>
                    </a:xfrm>
                    <a:custGeom>
                      <a:avLst/>
                      <a:gdLst>
                        <a:gd name="connsiteX0" fmla="*/ 0 w 30542"/>
                        <a:gd name="connsiteY0" fmla="*/ 4210 h 16592"/>
                        <a:gd name="connsiteX1" fmla="*/ 1815 w 30542"/>
                        <a:gd name="connsiteY1" fmla="*/ 0 h 16592"/>
                        <a:gd name="connsiteX2" fmla="*/ 30543 w 30542"/>
                        <a:gd name="connsiteY2" fmla="*/ 12382 h 16592"/>
                        <a:gd name="connsiteX3" fmla="*/ 28728 w 30542"/>
                        <a:gd name="connsiteY3" fmla="*/ 16593 h 165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30542" h="16592">
                          <a:moveTo>
                            <a:pt x="0" y="4210"/>
                          </a:moveTo>
                          <a:lnTo>
                            <a:pt x="1815" y="0"/>
                          </a:lnTo>
                          <a:lnTo>
                            <a:pt x="30543" y="12382"/>
                          </a:lnTo>
                          <a:lnTo>
                            <a:pt x="28728" y="16593"/>
                          </a:lnTo>
                          <a:close/>
                        </a:path>
                      </a:pathLst>
                    </a:custGeom>
                    <a:solidFill>
                      <a:srgbClr val="CCCBCA"/>
                    </a:solidFill>
                    <a:ln w="1347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s-ES"/>
                    </a:p>
                  </p:txBody>
                </p:sp>
                <p:sp>
                  <p:nvSpPr>
                    <p:cNvPr id="35" name="Forma libre: forma 1666">
                      <a:extLst>
                        <a:ext uri="{FF2B5EF4-FFF2-40B4-BE49-F238E27FC236}">
                          <a16:creationId xmlns:a16="http://schemas.microsoft.com/office/drawing/2014/main" id="{A322E4B6-5098-3610-97A8-8F3E4B6D5AD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09814" y="1767276"/>
                      <a:ext cx="30609" cy="16585"/>
                    </a:xfrm>
                    <a:custGeom>
                      <a:avLst/>
                      <a:gdLst>
                        <a:gd name="connsiteX0" fmla="*/ 1888 w 30609"/>
                        <a:gd name="connsiteY0" fmla="*/ 0 h 16585"/>
                        <a:gd name="connsiteX1" fmla="*/ 30610 w 30609"/>
                        <a:gd name="connsiteY1" fmla="*/ 12406 h 16585"/>
                        <a:gd name="connsiteX2" fmla="*/ 28722 w 30609"/>
                        <a:gd name="connsiteY2" fmla="*/ 16586 h 16585"/>
                        <a:gd name="connsiteX3" fmla="*/ 0 w 30609"/>
                        <a:gd name="connsiteY3" fmla="*/ 4180 h 1658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30609" h="16585">
                          <a:moveTo>
                            <a:pt x="1888" y="0"/>
                          </a:moveTo>
                          <a:lnTo>
                            <a:pt x="30610" y="12406"/>
                          </a:lnTo>
                          <a:lnTo>
                            <a:pt x="28722" y="16586"/>
                          </a:lnTo>
                          <a:lnTo>
                            <a:pt x="0" y="4180"/>
                          </a:lnTo>
                          <a:close/>
                        </a:path>
                      </a:pathLst>
                    </a:custGeom>
                    <a:solidFill>
                      <a:srgbClr val="CCCBCA"/>
                    </a:solidFill>
                    <a:ln w="1347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s-ES"/>
                    </a:p>
                  </p:txBody>
                </p:sp>
              </p:grpSp>
            </p:grpSp>
          </p:grpSp>
          <p:sp>
            <p:nvSpPr>
              <p:cNvPr id="23" name="Forma libre: forma 1654">
                <a:extLst>
                  <a:ext uri="{FF2B5EF4-FFF2-40B4-BE49-F238E27FC236}">
                    <a16:creationId xmlns:a16="http://schemas.microsoft.com/office/drawing/2014/main" id="{0DAAABB0-49A3-F6E6-BAAF-18C1265D8B8C}"/>
                  </a:ext>
                </a:extLst>
              </p:cNvPr>
              <p:cNvSpPr/>
              <p:nvPr/>
            </p:nvSpPr>
            <p:spPr>
              <a:xfrm>
                <a:off x="8078721" y="1737070"/>
                <a:ext cx="142801" cy="206853"/>
              </a:xfrm>
              <a:custGeom>
                <a:avLst/>
                <a:gdLst>
                  <a:gd name="connsiteX0" fmla="*/ 142802 w 142801"/>
                  <a:gd name="connsiteY0" fmla="*/ 142802 h 206853"/>
                  <a:gd name="connsiteX1" fmla="*/ 142802 w 142801"/>
                  <a:gd name="connsiteY1" fmla="*/ 199842 h 206853"/>
                  <a:gd name="connsiteX2" fmla="*/ 140779 w 142801"/>
                  <a:gd name="connsiteY2" fmla="*/ 204831 h 206853"/>
                  <a:gd name="connsiteX3" fmla="*/ 135790 w 142801"/>
                  <a:gd name="connsiteY3" fmla="*/ 206854 h 206853"/>
                  <a:gd name="connsiteX4" fmla="*/ 78480 w 142801"/>
                  <a:gd name="connsiteY4" fmla="*/ 206854 h 206853"/>
                  <a:gd name="connsiteX5" fmla="*/ 73491 w 142801"/>
                  <a:gd name="connsiteY5" fmla="*/ 204831 h 206853"/>
                  <a:gd name="connsiteX6" fmla="*/ 71468 w 142801"/>
                  <a:gd name="connsiteY6" fmla="*/ 199842 h 206853"/>
                  <a:gd name="connsiteX7" fmla="*/ 69446 w 142801"/>
                  <a:gd name="connsiteY7" fmla="*/ 204831 h 206853"/>
                  <a:gd name="connsiteX8" fmla="*/ 64456 w 142801"/>
                  <a:gd name="connsiteY8" fmla="*/ 206854 h 206853"/>
                  <a:gd name="connsiteX9" fmla="*/ 7147 w 142801"/>
                  <a:gd name="connsiteY9" fmla="*/ 206854 h 206853"/>
                  <a:gd name="connsiteX10" fmla="*/ 2157 w 142801"/>
                  <a:gd name="connsiteY10" fmla="*/ 204831 h 206853"/>
                  <a:gd name="connsiteX11" fmla="*/ 0 w 142801"/>
                  <a:gd name="connsiteY11" fmla="*/ 199842 h 206853"/>
                  <a:gd name="connsiteX12" fmla="*/ 0 w 142801"/>
                  <a:gd name="connsiteY12" fmla="*/ 3641 h 206853"/>
                  <a:gd name="connsiteX13" fmla="*/ 0 w 142801"/>
                  <a:gd name="connsiteY13" fmla="*/ 2292 h 206853"/>
                  <a:gd name="connsiteX14" fmla="*/ 0 w 142801"/>
                  <a:gd name="connsiteY14" fmla="*/ 0 h 206853"/>
                  <a:gd name="connsiteX15" fmla="*/ 71468 w 142801"/>
                  <a:gd name="connsiteY15" fmla="*/ 71468 h 206853"/>
                  <a:gd name="connsiteX16" fmla="*/ 142802 w 142801"/>
                  <a:gd name="connsiteY16" fmla="*/ 142802 h 206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801" h="206853">
                    <a:moveTo>
                      <a:pt x="142802" y="142802"/>
                    </a:moveTo>
                    <a:lnTo>
                      <a:pt x="142802" y="199842"/>
                    </a:lnTo>
                    <a:cubicBezTo>
                      <a:pt x="142802" y="201595"/>
                      <a:pt x="142128" y="203483"/>
                      <a:pt x="140779" y="204831"/>
                    </a:cubicBezTo>
                    <a:cubicBezTo>
                      <a:pt x="139431" y="206179"/>
                      <a:pt x="137543" y="206854"/>
                      <a:pt x="135790" y="206854"/>
                    </a:cubicBezTo>
                    <a:lnTo>
                      <a:pt x="78480" y="206854"/>
                    </a:lnTo>
                    <a:cubicBezTo>
                      <a:pt x="76727" y="206854"/>
                      <a:pt x="74840" y="206179"/>
                      <a:pt x="73491" y="204831"/>
                    </a:cubicBezTo>
                    <a:cubicBezTo>
                      <a:pt x="72143" y="203483"/>
                      <a:pt x="71468" y="201730"/>
                      <a:pt x="71468" y="199842"/>
                    </a:cubicBezTo>
                    <a:cubicBezTo>
                      <a:pt x="71468" y="201595"/>
                      <a:pt x="70794" y="203483"/>
                      <a:pt x="69446" y="204831"/>
                    </a:cubicBezTo>
                    <a:cubicBezTo>
                      <a:pt x="68097" y="206179"/>
                      <a:pt x="66209" y="206854"/>
                      <a:pt x="64456" y="206854"/>
                    </a:cubicBezTo>
                    <a:lnTo>
                      <a:pt x="7147" y="206854"/>
                    </a:lnTo>
                    <a:cubicBezTo>
                      <a:pt x="5394" y="206854"/>
                      <a:pt x="3506" y="206179"/>
                      <a:pt x="2157" y="204831"/>
                    </a:cubicBezTo>
                    <a:cubicBezTo>
                      <a:pt x="674" y="203483"/>
                      <a:pt x="0" y="201730"/>
                      <a:pt x="0" y="199842"/>
                    </a:cubicBezTo>
                    <a:lnTo>
                      <a:pt x="0" y="3641"/>
                    </a:lnTo>
                    <a:cubicBezTo>
                      <a:pt x="0" y="3236"/>
                      <a:pt x="0" y="2697"/>
                      <a:pt x="0" y="2292"/>
                    </a:cubicBezTo>
                    <a:lnTo>
                      <a:pt x="0" y="0"/>
                    </a:lnTo>
                    <a:lnTo>
                      <a:pt x="71468" y="71468"/>
                    </a:lnTo>
                    <a:lnTo>
                      <a:pt x="142802" y="142802"/>
                    </a:lnTo>
                    <a:close/>
                  </a:path>
                </a:pathLst>
              </a:custGeom>
              <a:solidFill>
                <a:srgbClr val="CCCBCA"/>
              </a:solidFill>
              <a:ln w="134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"/>
              </a:p>
            </p:txBody>
          </p:sp>
        </p:grpSp>
        <p:pic>
          <p:nvPicPr>
            <p:cNvPr id="17" name="Gráfico 16">
              <a:extLst>
                <a:ext uri="{FF2B5EF4-FFF2-40B4-BE49-F238E27FC236}">
                  <a16:creationId xmlns:a16="http://schemas.microsoft.com/office/drawing/2014/main" id="{3F6250CA-9BC3-8D43-A3AC-DF289941A09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738506" y="2152232"/>
              <a:ext cx="514870" cy="731657"/>
            </a:xfrm>
            <a:prstGeom prst="rect">
              <a:avLst/>
            </a:prstGeom>
          </p:spPr>
        </p:pic>
        <p:pic>
          <p:nvPicPr>
            <p:cNvPr id="18" name="Imagen 17">
              <a:extLst>
                <a:ext uri="{FF2B5EF4-FFF2-40B4-BE49-F238E27FC236}">
                  <a16:creationId xmlns:a16="http://schemas.microsoft.com/office/drawing/2014/main" id="{D781378F-B14B-7863-ED00-64853FBEA2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717331" y="2206364"/>
              <a:ext cx="685800" cy="691816"/>
            </a:xfrm>
            <a:prstGeom prst="rect">
              <a:avLst/>
            </a:prstGeom>
          </p:spPr>
        </p:pic>
        <p:pic>
          <p:nvPicPr>
            <p:cNvPr id="19" name="Imagen 18">
              <a:extLst>
                <a:ext uri="{FF2B5EF4-FFF2-40B4-BE49-F238E27FC236}">
                  <a16:creationId xmlns:a16="http://schemas.microsoft.com/office/drawing/2014/main" id="{2810891C-393C-853B-2C19-7945498412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9817132" y="2233831"/>
              <a:ext cx="685800" cy="628650"/>
            </a:xfrm>
            <a:prstGeom prst="rect">
              <a:avLst/>
            </a:prstGeom>
          </p:spPr>
        </p:pic>
      </p:grpSp>
      <p:sp>
        <p:nvSpPr>
          <p:cNvPr id="102" name="Oval 3">
            <a:extLst>
              <a:ext uri="{FF2B5EF4-FFF2-40B4-BE49-F238E27FC236}">
                <a16:creationId xmlns:a16="http://schemas.microsoft.com/office/drawing/2014/main" id="{1DCEC95D-4A7A-EDD4-9D42-44FC2CF0CD3A}"/>
              </a:ext>
            </a:extLst>
          </p:cNvPr>
          <p:cNvSpPr/>
          <p:nvPr/>
        </p:nvSpPr>
        <p:spPr>
          <a:xfrm>
            <a:off x="11424592" y="-387424"/>
            <a:ext cx="1584176" cy="1584176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Title 57">
            <a:extLst>
              <a:ext uri="{FF2B5EF4-FFF2-40B4-BE49-F238E27FC236}">
                <a16:creationId xmlns:a16="http://schemas.microsoft.com/office/drawing/2014/main" id="{E29B41A6-C08A-698F-248D-92D21251750C}"/>
              </a:ext>
            </a:extLst>
          </p:cNvPr>
          <p:cNvSpPr txBox="1">
            <a:spLocks/>
          </p:cNvSpPr>
          <p:nvPr/>
        </p:nvSpPr>
        <p:spPr>
          <a:xfrm>
            <a:off x="76515" y="-83862"/>
            <a:ext cx="7067601" cy="6206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>
                <a:solidFill>
                  <a:schemeClr val="accent5">
                    <a:lumMod val="50000"/>
                  </a:schemeClr>
                </a:solidFill>
              </a:rPr>
              <a:t>03    </a:t>
            </a:r>
            <a:r>
              <a:rPr lang="en-US" sz="2800"/>
              <a:t>Ongoing initiatives on automation and AI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798545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97B5F4-6959-5645-E281-3830699557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31B3CD38-41CA-1AC3-7CB3-0CECBE5CF0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31B3CD38-41CA-1AC3-7CB3-0CECBE5CF0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n 7">
            <a:extLst>
              <a:ext uri="{FF2B5EF4-FFF2-40B4-BE49-F238E27FC236}">
                <a16:creationId xmlns:a16="http://schemas.microsoft.com/office/drawing/2014/main" id="{792558DE-258B-8094-CB96-F60F9B27D6E6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62" r="17450" b="17450"/>
          <a:stretch>
            <a:fillRect/>
          </a:stretch>
        </p:blipFill>
        <p:spPr>
          <a:xfrm>
            <a:off x="0" y="513075"/>
            <a:ext cx="12192000" cy="6433989"/>
          </a:xfrm>
          <a:prstGeom prst="rect">
            <a:avLst/>
          </a:prstGeom>
        </p:spPr>
      </p:pic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8EE8960F-84F5-DEEF-199E-10A29CFC6A15}"/>
              </a:ext>
            </a:extLst>
          </p:cNvPr>
          <p:cNvSpPr txBox="1">
            <a:spLocks/>
          </p:cNvSpPr>
          <p:nvPr/>
        </p:nvSpPr>
        <p:spPr>
          <a:xfrm>
            <a:off x="11361738" y="6381750"/>
            <a:ext cx="830262" cy="355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2BFCD6-C37F-4D4F-B6AD-71D3A36D527F}" type="slidenum">
              <a:rPr lang="es-ES" b="1" smtClean="0">
                <a:solidFill>
                  <a:schemeClr val="bg1"/>
                </a:solidFill>
              </a:rPr>
              <a:pPr/>
              <a:t>5</a:t>
            </a:fld>
            <a:endParaRPr lang="es-ES" b="1">
              <a:solidFill>
                <a:schemeClr val="bg1"/>
              </a:solidFill>
            </a:endParaRPr>
          </a:p>
        </p:txBody>
      </p:sp>
      <p:grpSp>
        <p:nvGrpSpPr>
          <p:cNvPr id="13" name="Group 6">
            <a:extLst>
              <a:ext uri="{FF2B5EF4-FFF2-40B4-BE49-F238E27FC236}">
                <a16:creationId xmlns:a16="http://schemas.microsoft.com/office/drawing/2014/main" id="{1553947D-2F06-E0F6-00F4-EDA4B8218105}"/>
              </a:ext>
            </a:extLst>
          </p:cNvPr>
          <p:cNvGrpSpPr/>
          <p:nvPr/>
        </p:nvGrpSpPr>
        <p:grpSpPr>
          <a:xfrm>
            <a:off x="574656" y="828267"/>
            <a:ext cx="11617344" cy="1848518"/>
            <a:chOff x="230155" y="964745"/>
            <a:chExt cx="11617344" cy="1848518"/>
          </a:xfrm>
        </p:grpSpPr>
        <p:grpSp>
          <p:nvGrpSpPr>
            <p:cNvPr id="14" name="Group 7">
              <a:extLst>
                <a:ext uri="{FF2B5EF4-FFF2-40B4-BE49-F238E27FC236}">
                  <a16:creationId xmlns:a16="http://schemas.microsoft.com/office/drawing/2014/main" id="{C2C0B234-1063-218B-9B61-22E991FE7B2A}"/>
                </a:ext>
              </a:extLst>
            </p:cNvPr>
            <p:cNvGrpSpPr/>
            <p:nvPr/>
          </p:nvGrpSpPr>
          <p:grpSpPr>
            <a:xfrm>
              <a:off x="230155" y="964745"/>
              <a:ext cx="8616969" cy="1848518"/>
              <a:chOff x="230155" y="964745"/>
              <a:chExt cx="8616969" cy="1848518"/>
            </a:xfrm>
          </p:grpSpPr>
          <p:grpSp>
            <p:nvGrpSpPr>
              <p:cNvPr id="17" name="Group 10">
                <a:extLst>
                  <a:ext uri="{FF2B5EF4-FFF2-40B4-BE49-F238E27FC236}">
                    <a16:creationId xmlns:a16="http://schemas.microsoft.com/office/drawing/2014/main" id="{9A3F5042-9040-3D2F-F63C-D9FD7F221CB7}"/>
                  </a:ext>
                </a:extLst>
              </p:cNvPr>
              <p:cNvGrpSpPr/>
              <p:nvPr/>
            </p:nvGrpSpPr>
            <p:grpSpPr>
              <a:xfrm>
                <a:off x="587180" y="964745"/>
                <a:ext cx="8259944" cy="1848518"/>
                <a:chOff x="565048" y="971621"/>
                <a:chExt cx="8259944" cy="1848518"/>
              </a:xfrm>
            </p:grpSpPr>
            <p:sp>
              <p:nvSpPr>
                <p:cNvPr id="19" name="TextBox 12">
                  <a:extLst>
                    <a:ext uri="{FF2B5EF4-FFF2-40B4-BE49-F238E27FC236}">
                      <a16:creationId xmlns:a16="http://schemas.microsoft.com/office/drawing/2014/main" id="{184C4493-AA92-4D81-90F3-3E180ED6B4DC}"/>
                    </a:ext>
                  </a:extLst>
                </p:cNvPr>
                <p:cNvSpPr txBox="1"/>
                <p:nvPr/>
              </p:nvSpPr>
              <p:spPr>
                <a:xfrm flipH="1">
                  <a:off x="565048" y="971621"/>
                  <a:ext cx="8259944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s-ES" sz="2400" b="1" err="1">
                      <a:solidFill>
                        <a:schemeClr val="tx1">
                          <a:lumMod val="50000"/>
                        </a:schemeClr>
                      </a:solidFill>
                      <a:cs typeface="Calibri Light" panose="020F0302020204030204" pitchFamily="34" charset="0"/>
                    </a:rPr>
                    <a:t>Order</a:t>
                  </a:r>
                  <a:r>
                    <a:rPr lang="es-ES" sz="2400" b="1">
                      <a:solidFill>
                        <a:schemeClr val="tx1">
                          <a:lumMod val="50000"/>
                        </a:schemeClr>
                      </a:solidFill>
                      <a:cs typeface="Calibri Light" panose="020F0302020204030204" pitchFamily="34" charset="0"/>
                    </a:rPr>
                    <a:t> for </a:t>
                  </a:r>
                  <a:r>
                    <a:rPr lang="es-ES" sz="2400" b="1" err="1">
                      <a:solidFill>
                        <a:schemeClr val="tx1">
                          <a:lumMod val="50000"/>
                        </a:schemeClr>
                      </a:solidFill>
                      <a:cs typeface="Calibri Light" panose="020F0302020204030204" pitchFamily="34" charset="0"/>
                    </a:rPr>
                    <a:t>payment</a:t>
                  </a:r>
                  <a:r>
                    <a:rPr lang="es-ES" sz="2400" b="1">
                      <a:solidFill>
                        <a:schemeClr val="tx1">
                          <a:lumMod val="50000"/>
                        </a:schemeClr>
                      </a:solidFill>
                      <a:cs typeface="Calibri Light" panose="020F0302020204030204" pitchFamily="34" charset="0"/>
                    </a:rPr>
                    <a:t> is a </a:t>
                  </a:r>
                  <a:r>
                    <a:rPr lang="es-ES" sz="2400" b="1" err="1">
                      <a:solidFill>
                        <a:schemeClr val="tx1">
                          <a:lumMod val="50000"/>
                        </a:schemeClr>
                      </a:solidFill>
                      <a:cs typeface="Calibri Light" panose="020F0302020204030204" pitchFamily="34" charset="0"/>
                    </a:rPr>
                    <a:t>massive</a:t>
                  </a:r>
                  <a:r>
                    <a:rPr lang="es-ES" sz="2400" b="1">
                      <a:solidFill>
                        <a:schemeClr val="tx1">
                          <a:lumMod val="50000"/>
                        </a:schemeClr>
                      </a:solidFill>
                      <a:cs typeface="Calibri Light" panose="020F0302020204030204" pitchFamily="34" charset="0"/>
                    </a:rPr>
                    <a:t>, but </a:t>
                  </a:r>
                  <a:r>
                    <a:rPr lang="es-ES" sz="2400" b="1" err="1">
                      <a:solidFill>
                        <a:schemeClr val="tx1">
                          <a:lumMod val="50000"/>
                        </a:schemeClr>
                      </a:solidFill>
                      <a:cs typeface="Calibri Light" panose="020F0302020204030204" pitchFamily="34" charset="0"/>
                    </a:rPr>
                    <a:t>typically</a:t>
                  </a:r>
                  <a:r>
                    <a:rPr lang="es-ES" sz="2400" b="1">
                      <a:solidFill>
                        <a:schemeClr val="tx1">
                          <a:lumMod val="50000"/>
                        </a:schemeClr>
                      </a:solidFill>
                      <a:cs typeface="Calibri Light" panose="020F0302020204030204" pitchFamily="34" charset="0"/>
                    </a:rPr>
                    <a:t> simple case</a:t>
                  </a:r>
                </a:p>
              </p:txBody>
            </p:sp>
            <p:sp>
              <p:nvSpPr>
                <p:cNvPr id="20" name="Rectangle 13">
                  <a:extLst>
                    <a:ext uri="{FF2B5EF4-FFF2-40B4-BE49-F238E27FC236}">
                      <a16:creationId xmlns:a16="http://schemas.microsoft.com/office/drawing/2014/main" id="{CF0E9665-551F-2D59-A1D4-4FF90EF82CBF}"/>
                    </a:ext>
                  </a:extLst>
                </p:cNvPr>
                <p:cNvSpPr/>
                <p:nvPr/>
              </p:nvSpPr>
              <p:spPr>
                <a:xfrm>
                  <a:off x="695400" y="1452139"/>
                  <a:ext cx="72000" cy="136800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>
                    <a:cs typeface="Calibri Light" panose="020F0302020204030204" pitchFamily="34" charset="0"/>
                  </a:endParaRPr>
                </a:p>
              </p:txBody>
            </p:sp>
          </p:grpSp>
          <p:sp>
            <p:nvSpPr>
              <p:cNvPr id="18" name="Oval 11">
                <a:extLst>
                  <a:ext uri="{FF2B5EF4-FFF2-40B4-BE49-F238E27FC236}">
                    <a16:creationId xmlns:a16="http://schemas.microsoft.com/office/drawing/2014/main" id="{0CC131FB-465D-C69B-50D9-003696959CB0}"/>
                  </a:ext>
                </a:extLst>
              </p:cNvPr>
              <p:cNvSpPr/>
              <p:nvPr/>
            </p:nvSpPr>
            <p:spPr>
              <a:xfrm>
                <a:off x="230155" y="1060659"/>
                <a:ext cx="357025" cy="357025"/>
              </a:xfrm>
              <a:prstGeom prst="ellipse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pic>
          <p:nvPicPr>
            <p:cNvPr id="15" name="Picture 8" descr="A computer screen with a paper on it&#10;&#10;Description automatically generated">
              <a:extLst>
                <a:ext uri="{FF2B5EF4-FFF2-40B4-BE49-F238E27FC236}">
                  <a16:creationId xmlns:a16="http://schemas.microsoft.com/office/drawing/2014/main" id="{3474D157-A6FE-513D-AF0C-7682B23DDE3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5162" y="1101714"/>
              <a:ext cx="267009" cy="267009"/>
            </a:xfrm>
            <a:prstGeom prst="rect">
              <a:avLst/>
            </a:prstGeom>
          </p:spPr>
        </p:pic>
        <p:sp>
          <p:nvSpPr>
            <p:cNvPr id="16" name="TextBox 9">
              <a:extLst>
                <a:ext uri="{FF2B5EF4-FFF2-40B4-BE49-F238E27FC236}">
                  <a16:creationId xmlns:a16="http://schemas.microsoft.com/office/drawing/2014/main" id="{A75E530A-C5A0-C40F-35C2-4AA73B70C7F6}"/>
                </a:ext>
              </a:extLst>
            </p:cNvPr>
            <p:cNvSpPr txBox="1"/>
            <p:nvPr/>
          </p:nvSpPr>
          <p:spPr>
            <a:xfrm>
              <a:off x="863040" y="1486388"/>
              <a:ext cx="10984459" cy="8617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s-ES" err="1">
                  <a:solidFill>
                    <a:schemeClr val="tx1">
                      <a:lumMod val="50000"/>
                    </a:schemeClr>
                  </a:solidFill>
                  <a:ea typeface="Calibri" panose="020F0502020204030204" pitchFamily="34" charset="0"/>
                  <a:cs typeface="Calibri Light" panose="020F0302020204030204" pitchFamily="34" charset="0"/>
                </a:rPr>
                <a:t>Almost</a:t>
              </a:r>
              <a:r>
                <a:rPr lang="es-ES">
                  <a:solidFill>
                    <a:schemeClr val="tx1">
                      <a:lumMod val="50000"/>
                    </a:schemeClr>
                  </a:solidFill>
                  <a:ea typeface="Calibri" panose="020F0502020204030204" pitchFamily="34" charset="0"/>
                  <a:cs typeface="Calibri Light" panose="020F0302020204030204" pitchFamily="34" charset="0"/>
                </a:rPr>
                <a:t> the </a:t>
              </a:r>
              <a:r>
                <a:rPr lang="es-ES" err="1">
                  <a:solidFill>
                    <a:schemeClr val="tx1">
                      <a:lumMod val="50000"/>
                    </a:schemeClr>
                  </a:solidFill>
                  <a:ea typeface="Calibri" panose="020F0502020204030204" pitchFamily="34" charset="0"/>
                  <a:cs typeface="Calibri Light" panose="020F0302020204030204" pitchFamily="34" charset="0"/>
                </a:rPr>
                <a:t>entire</a:t>
              </a:r>
              <a:r>
                <a:rPr lang="es-ES">
                  <a:solidFill>
                    <a:schemeClr val="tx1">
                      <a:lumMod val="50000"/>
                    </a:schemeClr>
                  </a:solidFill>
                  <a:ea typeface="Calibri" panose="020F0502020204030204" pitchFamily="34" charset="0"/>
                  <a:cs typeface="Calibri Light" panose="020F0302020204030204" pitchFamily="34" charset="0"/>
                </a:rPr>
                <a:t> procedure has </a:t>
              </a:r>
              <a:r>
                <a:rPr lang="es-ES" err="1">
                  <a:solidFill>
                    <a:schemeClr val="tx1">
                      <a:lumMod val="50000"/>
                    </a:schemeClr>
                  </a:solidFill>
                  <a:ea typeface="Calibri" panose="020F0502020204030204" pitchFamily="34" charset="0"/>
                  <a:cs typeface="Calibri Light" panose="020F0302020204030204" pitchFamily="34" charset="0"/>
                </a:rPr>
                <a:t>been</a:t>
              </a:r>
              <a:r>
                <a:rPr lang="es-ES">
                  <a:solidFill>
                    <a:schemeClr val="tx1">
                      <a:lumMod val="50000"/>
                    </a:schemeClr>
                  </a:solidFill>
                  <a:ea typeface="Calibri" panose="020F0502020204030204" pitchFamily="34" charset="0"/>
                  <a:cs typeface="Calibri Light" panose="020F0302020204030204" pitchFamily="34" charset="0"/>
                </a:rPr>
                <a:t> </a:t>
              </a:r>
              <a:r>
                <a:rPr lang="es-ES" err="1">
                  <a:solidFill>
                    <a:schemeClr val="tx1">
                      <a:lumMod val="50000"/>
                    </a:schemeClr>
                  </a:solidFill>
                  <a:ea typeface="Calibri" panose="020F0502020204030204" pitchFamily="34" charset="0"/>
                  <a:cs typeface="Calibri Light" panose="020F0302020204030204" pitchFamily="34" charset="0"/>
                </a:rPr>
                <a:t>automated</a:t>
              </a:r>
              <a:r>
                <a:rPr lang="es-ES">
                  <a:solidFill>
                    <a:schemeClr val="tx1">
                      <a:lumMod val="50000"/>
                    </a:schemeClr>
                  </a:solidFill>
                  <a:ea typeface="Calibri" panose="020F0502020204030204" pitchFamily="34" charset="0"/>
                  <a:cs typeface="Calibri Light" panose="020F0302020204030204" pitchFamily="34" charset="0"/>
                </a:rPr>
                <a:t> using RPA and AI.</a:t>
              </a:r>
            </a:p>
            <a:p>
              <a:pPr marL="342900" indent="-342900" algn="just">
                <a:buFont typeface="Wingdings" panose="05000000000000000000" pitchFamily="2" charset="2"/>
                <a:buChar char="ü"/>
              </a:pPr>
              <a:endParaRPr lang="es-ES" sz="1600" b="1">
                <a:solidFill>
                  <a:schemeClr val="bg1"/>
                </a:solidFill>
                <a:highlight>
                  <a:srgbClr val="008000"/>
                </a:highlight>
                <a:ea typeface="Calibri" panose="020F0502020204030204" pitchFamily="34" charset="0"/>
                <a:cs typeface="Calibri Light" panose="020F0302020204030204" pitchFamily="34" charset="0"/>
              </a:endParaRPr>
            </a:p>
            <a:p>
              <a:pPr algn="just"/>
              <a:endParaRPr lang="es-ES" sz="1600" b="1">
                <a:solidFill>
                  <a:schemeClr val="bg1"/>
                </a:solidFill>
                <a:highlight>
                  <a:srgbClr val="008000"/>
                </a:highlight>
                <a:ea typeface="Calibri" panose="020F05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21" name="TextBox 58">
            <a:extLst>
              <a:ext uri="{FF2B5EF4-FFF2-40B4-BE49-F238E27FC236}">
                <a16:creationId xmlns:a16="http://schemas.microsoft.com/office/drawing/2014/main" id="{0EFCF9FE-C8C2-293E-1DD8-A28D34A4709F}"/>
              </a:ext>
            </a:extLst>
          </p:cNvPr>
          <p:cNvSpPr txBox="1"/>
          <p:nvPr/>
        </p:nvSpPr>
        <p:spPr>
          <a:xfrm>
            <a:off x="1888009" y="2009836"/>
            <a:ext cx="7608415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bg1"/>
                </a:solidFill>
                <a:highlight>
                  <a:srgbClr val="000080"/>
                </a:highlight>
                <a:ea typeface="Calibri" panose="020F0502020204030204" pitchFamily="34" charset="0"/>
                <a:cs typeface="Calibri Light" panose="020F0302020204030204" pitchFamily="34" charset="0"/>
              </a:rPr>
              <a:t>From a free format document to a </a:t>
            </a:r>
            <a:r>
              <a:rPr lang="en-US" b="1" err="1">
                <a:solidFill>
                  <a:schemeClr val="bg1"/>
                </a:solidFill>
                <a:highlight>
                  <a:srgbClr val="000080"/>
                </a:highlight>
                <a:ea typeface="Calibri" panose="020F0502020204030204" pitchFamily="34" charset="0"/>
                <a:cs typeface="Calibri Light" panose="020F0302020204030204" pitchFamily="34" charset="0"/>
              </a:rPr>
              <a:t>standardised</a:t>
            </a:r>
            <a:r>
              <a:rPr lang="en-US" b="1">
                <a:solidFill>
                  <a:schemeClr val="bg1"/>
                </a:solidFill>
                <a:highlight>
                  <a:srgbClr val="000080"/>
                </a:highlight>
                <a:ea typeface="Calibri" panose="020F0502020204030204" pitchFamily="34" charset="0"/>
                <a:cs typeface="Calibri Light" panose="020F0302020204030204" pitchFamily="34" charset="0"/>
              </a:rPr>
              <a:t> data-oriented form in LexNET </a:t>
            </a:r>
            <a:r>
              <a:rPr lang="en-US" sz="1600" b="1" i="1">
                <a:solidFill>
                  <a:schemeClr val="bg1"/>
                </a:solidFill>
                <a:highlight>
                  <a:srgbClr val="000080"/>
                </a:highlight>
                <a:ea typeface="Calibri" panose="020F0502020204030204" pitchFamily="34" charset="0"/>
                <a:cs typeface="Calibri Light" panose="020F0302020204030204" pitchFamily="34" charset="0"/>
              </a:rPr>
              <a:t>(mandatory since 2025)</a:t>
            </a:r>
            <a:endParaRPr lang="en-US" b="1" i="1">
              <a:solidFill>
                <a:schemeClr val="bg1"/>
              </a:solidFill>
              <a:effectLst/>
              <a:highlight>
                <a:srgbClr val="000080"/>
              </a:highlight>
              <a:ea typeface="Calibri" panose="020F05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22" name="Picture 64">
            <a:extLst>
              <a:ext uri="{FF2B5EF4-FFF2-40B4-BE49-F238E27FC236}">
                <a16:creationId xmlns:a16="http://schemas.microsoft.com/office/drawing/2014/main" id="{6D7D11E8-0A02-D09D-9C52-30FA123F873D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1576484" y="2035820"/>
            <a:ext cx="311526" cy="311526"/>
          </a:xfrm>
          <a:prstGeom prst="rect">
            <a:avLst/>
          </a:prstGeom>
        </p:spPr>
      </p:pic>
      <p:sp>
        <p:nvSpPr>
          <p:cNvPr id="23" name="TextBox 75">
            <a:extLst>
              <a:ext uri="{FF2B5EF4-FFF2-40B4-BE49-F238E27FC236}">
                <a16:creationId xmlns:a16="http://schemas.microsoft.com/office/drawing/2014/main" id="{CCCF8AF0-D1EA-0D17-6B84-37302DD35126}"/>
              </a:ext>
            </a:extLst>
          </p:cNvPr>
          <p:cNvSpPr txBox="1"/>
          <p:nvPr/>
        </p:nvSpPr>
        <p:spPr>
          <a:xfrm>
            <a:off x="1888009" y="3888774"/>
            <a:ext cx="624198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bg1"/>
                </a:solidFill>
                <a:highlight>
                  <a:srgbClr val="000080"/>
                </a:highlight>
                <a:ea typeface="Calibri" panose="020F0502020204030204" pitchFamily="34" charset="0"/>
                <a:cs typeface="Calibri Light" panose="020F0302020204030204" pitchFamily="34" charset="0"/>
              </a:rPr>
              <a:t>Automatic classification of annex documents in LexNET</a:t>
            </a:r>
          </a:p>
        </p:txBody>
      </p:sp>
      <p:pic>
        <p:nvPicPr>
          <p:cNvPr id="24" name="Picture 76">
            <a:extLst>
              <a:ext uri="{FF2B5EF4-FFF2-40B4-BE49-F238E27FC236}">
                <a16:creationId xmlns:a16="http://schemas.microsoft.com/office/drawing/2014/main" id="{8D8568B6-0C18-4124-A3D0-6484A3A28178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1576483" y="3916676"/>
            <a:ext cx="311526" cy="311526"/>
          </a:xfrm>
          <a:prstGeom prst="rect">
            <a:avLst/>
          </a:prstGeom>
        </p:spPr>
      </p:pic>
      <p:sp>
        <p:nvSpPr>
          <p:cNvPr id="25" name="TextBox 58">
            <a:extLst>
              <a:ext uri="{FF2B5EF4-FFF2-40B4-BE49-F238E27FC236}">
                <a16:creationId xmlns:a16="http://schemas.microsoft.com/office/drawing/2014/main" id="{3525D884-1ABE-2F54-4D9D-917B75B79C80}"/>
              </a:ext>
            </a:extLst>
          </p:cNvPr>
          <p:cNvSpPr txBox="1"/>
          <p:nvPr/>
        </p:nvSpPr>
        <p:spPr>
          <a:xfrm>
            <a:off x="2459509" y="2972998"/>
            <a:ext cx="634159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bg1"/>
                </a:solidFill>
                <a:highlight>
                  <a:srgbClr val="000080"/>
                </a:highlight>
                <a:ea typeface="Calibri" panose="020F0502020204030204" pitchFamily="34" charset="0"/>
                <a:cs typeface="Calibri Light" panose="020F0302020204030204" pitchFamily="34" charset="0"/>
              </a:rPr>
              <a:t>Also available for integrated companies by web services </a:t>
            </a:r>
          </a:p>
        </p:txBody>
      </p:sp>
      <p:pic>
        <p:nvPicPr>
          <p:cNvPr id="26" name="Picture 64">
            <a:extLst>
              <a:ext uri="{FF2B5EF4-FFF2-40B4-BE49-F238E27FC236}">
                <a16:creationId xmlns:a16="http://schemas.microsoft.com/office/drawing/2014/main" id="{9B2117EC-0776-B7D6-B87E-3E28409B2896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2147982" y="3001901"/>
            <a:ext cx="311526" cy="311526"/>
          </a:xfrm>
          <a:prstGeom prst="rect">
            <a:avLst/>
          </a:prstGeom>
        </p:spPr>
      </p:pic>
      <p:sp>
        <p:nvSpPr>
          <p:cNvPr id="27" name="TextBox 75">
            <a:extLst>
              <a:ext uri="{FF2B5EF4-FFF2-40B4-BE49-F238E27FC236}">
                <a16:creationId xmlns:a16="http://schemas.microsoft.com/office/drawing/2014/main" id="{CB37DB81-FFF3-BFA3-5653-C3BB9E4DC43F}"/>
              </a:ext>
            </a:extLst>
          </p:cNvPr>
          <p:cNvSpPr txBox="1"/>
          <p:nvPr/>
        </p:nvSpPr>
        <p:spPr>
          <a:xfrm>
            <a:off x="1888009" y="4811119"/>
            <a:ext cx="691309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highlight>
                  <a:srgbClr val="000080"/>
                </a:highlight>
                <a:ea typeface="Calibri" panose="020F0502020204030204" pitchFamily="34" charset="0"/>
                <a:cs typeface="Calibri Light" panose="020F0302020204030204" pitchFamily="34" charset="0"/>
              </a:rPr>
              <a:t>Massive and predictive processing, with automated admission criteria and rule-based decisions</a:t>
            </a:r>
          </a:p>
        </p:txBody>
      </p:sp>
      <p:sp>
        <p:nvSpPr>
          <p:cNvPr id="29" name="Oval 3">
            <a:extLst>
              <a:ext uri="{FF2B5EF4-FFF2-40B4-BE49-F238E27FC236}">
                <a16:creationId xmlns:a16="http://schemas.microsoft.com/office/drawing/2014/main" id="{918E3D0C-C877-8F14-0D93-72DCCBA60206}"/>
              </a:ext>
            </a:extLst>
          </p:cNvPr>
          <p:cNvSpPr/>
          <p:nvPr/>
        </p:nvSpPr>
        <p:spPr>
          <a:xfrm>
            <a:off x="11424592" y="-387424"/>
            <a:ext cx="1584176" cy="1584176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6B4F0578-6FD2-33A8-6759-09FB5DF59FAF}"/>
              </a:ext>
            </a:extLst>
          </p:cNvPr>
          <p:cNvSpPr txBox="1">
            <a:spLocks/>
          </p:cNvSpPr>
          <p:nvPr/>
        </p:nvSpPr>
        <p:spPr>
          <a:xfrm>
            <a:off x="11325879" y="6486607"/>
            <a:ext cx="830262" cy="355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2BFCD6-C37F-4D4F-B6AD-71D3A36D527F}" type="slidenum">
              <a:rPr lang="es-ES" b="1" smtClean="0">
                <a:solidFill>
                  <a:schemeClr val="tx2"/>
                </a:solidFill>
              </a:rPr>
              <a:pPr/>
              <a:t>5</a:t>
            </a:fld>
            <a:endParaRPr lang="es-ES" b="1">
              <a:solidFill>
                <a:schemeClr val="tx2"/>
              </a:solidFill>
            </a:endParaRPr>
          </a:p>
        </p:txBody>
      </p:sp>
      <p:sp>
        <p:nvSpPr>
          <p:cNvPr id="3" name="Title 57">
            <a:extLst>
              <a:ext uri="{FF2B5EF4-FFF2-40B4-BE49-F238E27FC236}">
                <a16:creationId xmlns:a16="http://schemas.microsoft.com/office/drawing/2014/main" id="{F51465EF-00C7-B7F1-ACC3-BD9F30B13C79}"/>
              </a:ext>
            </a:extLst>
          </p:cNvPr>
          <p:cNvSpPr txBox="1">
            <a:spLocks/>
          </p:cNvSpPr>
          <p:nvPr/>
        </p:nvSpPr>
        <p:spPr>
          <a:xfrm>
            <a:off x="76515" y="-83862"/>
            <a:ext cx="9600885" cy="6206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>
                <a:solidFill>
                  <a:schemeClr val="accent5">
                    <a:lumMod val="50000"/>
                  </a:schemeClr>
                </a:solidFill>
              </a:rPr>
              <a:t>04    </a:t>
            </a:r>
            <a:r>
              <a:rPr lang="en-US" sz="2800"/>
              <a:t>Taking the order for payment to the next stage</a:t>
            </a:r>
            <a:endParaRPr lang="es-ES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90643CA-48EE-873B-2A6E-0F338902A23C}"/>
              </a:ext>
            </a:extLst>
          </p:cNvPr>
          <p:cNvSpPr txBox="1"/>
          <p:nvPr/>
        </p:nvSpPr>
        <p:spPr>
          <a:xfrm>
            <a:off x="9505418" y="1758342"/>
            <a:ext cx="261801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1" dirty="0">
                <a:solidFill>
                  <a:srgbClr val="00B050"/>
                </a:solidFill>
              </a:rPr>
              <a:t>+85 % of cases initiated in the CMS </a:t>
            </a:r>
            <a:r>
              <a:rPr lang="en-US" i="1" dirty="0">
                <a:solidFill>
                  <a:schemeClr val="accent3"/>
                </a:solidFill>
              </a:rPr>
              <a:t>use this new form </a:t>
            </a:r>
            <a:r>
              <a:rPr lang="en-US" sz="1400" i="1" dirty="0">
                <a:solidFill>
                  <a:schemeClr val="accent3"/>
                </a:solidFill>
              </a:rPr>
              <a:t>(Jun-Sep 2025)</a:t>
            </a:r>
            <a:endParaRPr lang="en-US" i="1" dirty="0">
              <a:solidFill>
                <a:schemeClr val="accent3"/>
              </a:solidFill>
            </a:endParaRPr>
          </a:p>
        </p:txBody>
      </p:sp>
      <p:pic>
        <p:nvPicPr>
          <p:cNvPr id="5" name="Picture 64">
            <a:extLst>
              <a:ext uri="{FF2B5EF4-FFF2-40B4-BE49-F238E27FC236}">
                <a16:creationId xmlns:a16="http://schemas.microsoft.com/office/drawing/2014/main" id="{E2063385-0771-E97D-9C1A-FFC035E57162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1576483" y="4825139"/>
            <a:ext cx="311526" cy="311526"/>
          </a:xfrm>
          <a:prstGeom prst="rect">
            <a:avLst/>
          </a:prstGeom>
        </p:spPr>
      </p:pic>
      <p:pic>
        <p:nvPicPr>
          <p:cNvPr id="6" name="Imagen 7">
            <a:extLst>
              <a:ext uri="{FF2B5EF4-FFF2-40B4-BE49-F238E27FC236}">
                <a16:creationId xmlns:a16="http://schemas.microsoft.com/office/drawing/2014/main" id="{AAC7479A-6303-5360-52E3-BE6DA0F0A38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2776" y="6453815"/>
            <a:ext cx="2466449" cy="276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4485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3" grpId="0"/>
      <p:bldP spid="25" grpId="0"/>
      <p:bldP spid="27" grpId="0"/>
      <p:bldP spid="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3C79BB-D0A9-DB04-4666-890DB8C09E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 descr="A hallway with many rows of servers&#10;&#10;AI-generated content may be incorrect.">
            <a:extLst>
              <a:ext uri="{FF2B5EF4-FFF2-40B4-BE49-F238E27FC236}">
                <a16:creationId xmlns:a16="http://schemas.microsoft.com/office/drawing/2014/main" id="{CAB85CFF-5CE2-9EC0-8C2E-E476890BF01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506"/>
          <a:stretch>
            <a:fillRect/>
          </a:stretch>
        </p:blipFill>
        <p:spPr>
          <a:xfrm>
            <a:off x="3231663" y="503810"/>
            <a:ext cx="8960337" cy="6354190"/>
          </a:xfrm>
          <a:prstGeom prst="rect">
            <a:avLst/>
          </a:prstGeom>
        </p:spPr>
      </p:pic>
      <p:pic>
        <p:nvPicPr>
          <p:cNvPr id="4" name="Picture 3" descr="A person and person looking at a tablet&#10;&#10;AI-generated content may be incorrect.">
            <a:extLst>
              <a:ext uri="{FF2B5EF4-FFF2-40B4-BE49-F238E27FC236}">
                <a16:creationId xmlns:a16="http://schemas.microsoft.com/office/drawing/2014/main" id="{C9E9407E-1A7C-E6D5-FCFC-849AAC72BFE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00" r="3118"/>
          <a:stretch>
            <a:fillRect/>
          </a:stretch>
        </p:blipFill>
        <p:spPr>
          <a:xfrm>
            <a:off x="0" y="503810"/>
            <a:ext cx="7452360" cy="641989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0820FA9-FD0D-794B-4B4C-3CF50E3EFA03}"/>
              </a:ext>
            </a:extLst>
          </p:cNvPr>
          <p:cNvSpPr/>
          <p:nvPr/>
        </p:nvSpPr>
        <p:spPr>
          <a:xfrm>
            <a:off x="3520440" y="503810"/>
            <a:ext cx="7751816" cy="635419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2000">
                <a:srgbClr val="FFFFFF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8" name="Rectangle 15">
            <a:extLst>
              <a:ext uri="{FF2B5EF4-FFF2-40B4-BE49-F238E27FC236}">
                <a16:creationId xmlns:a16="http://schemas.microsoft.com/office/drawing/2014/main" id="{0FB05E3D-5D15-F407-D06E-E0CD8F349F1A}"/>
              </a:ext>
            </a:extLst>
          </p:cNvPr>
          <p:cNvSpPr/>
          <p:nvPr/>
        </p:nvSpPr>
        <p:spPr>
          <a:xfrm>
            <a:off x="531414" y="0"/>
            <a:ext cx="8565452" cy="503810"/>
          </a:xfrm>
          <a:prstGeom prst="rect">
            <a:avLst/>
          </a:prstGeom>
          <a:gradFill flip="none" rotWithShape="1">
            <a:gsLst>
              <a:gs pos="0">
                <a:srgbClr val="12325C"/>
              </a:gs>
              <a:gs pos="100000">
                <a:srgbClr val="137ADB">
                  <a:alpha val="89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9" name="Oval 3">
            <a:extLst>
              <a:ext uri="{FF2B5EF4-FFF2-40B4-BE49-F238E27FC236}">
                <a16:creationId xmlns:a16="http://schemas.microsoft.com/office/drawing/2014/main" id="{A0354C90-C4D3-F250-8149-C6E370A5B2EB}"/>
              </a:ext>
            </a:extLst>
          </p:cNvPr>
          <p:cNvSpPr/>
          <p:nvPr/>
        </p:nvSpPr>
        <p:spPr>
          <a:xfrm>
            <a:off x="11424592" y="-387424"/>
            <a:ext cx="1584176" cy="1584176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50" name="Picture 4">
            <a:extLst>
              <a:ext uri="{FF2B5EF4-FFF2-40B4-BE49-F238E27FC236}">
                <a16:creationId xmlns:a16="http://schemas.microsoft.com/office/drawing/2014/main" id="{2FC901BF-7DFD-8E27-A973-05BF62BEE0F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2350" t="14254"/>
          <a:stretch/>
        </p:blipFill>
        <p:spPr>
          <a:xfrm>
            <a:off x="0" y="-3028"/>
            <a:ext cx="710094" cy="784124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A91B7033-B9E8-074D-0237-74E153626B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A91B7033-B9E8-074D-0237-74E153626B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B41B68BE-E16D-3990-C9BA-A07CE9A427C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361738" y="6381750"/>
            <a:ext cx="830262" cy="355600"/>
          </a:xfrm>
        </p:spPr>
        <p:txBody>
          <a:bodyPr/>
          <a:lstStyle/>
          <a:p>
            <a:fld id="{F72BFCD6-C37F-4D4F-B6AD-71D3A36D527F}" type="slidenum">
              <a:rPr lang="es-ES" b="1" smtClean="0">
                <a:solidFill>
                  <a:schemeClr val="tx1"/>
                </a:solidFill>
                <a:latin typeface="+mn-lt"/>
              </a:rPr>
              <a:pPr/>
              <a:t>6</a:t>
            </a:fld>
            <a:endParaRPr lang="es-ES" b="1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D6732D3-FF04-500B-44BC-4D2771D0BE05}"/>
              </a:ext>
            </a:extLst>
          </p:cNvPr>
          <p:cNvGrpSpPr/>
          <p:nvPr/>
        </p:nvGrpSpPr>
        <p:grpSpPr>
          <a:xfrm>
            <a:off x="6003490" y="4448047"/>
            <a:ext cx="4680533" cy="929959"/>
            <a:chOff x="1457844" y="4224049"/>
            <a:chExt cx="4680533" cy="929959"/>
          </a:xfrm>
        </p:grpSpPr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7C297776-47C5-7D4F-2935-383AF45B0977}"/>
                </a:ext>
              </a:extLst>
            </p:cNvPr>
            <p:cNvGrpSpPr/>
            <p:nvPr/>
          </p:nvGrpSpPr>
          <p:grpSpPr>
            <a:xfrm>
              <a:off x="1457844" y="4224049"/>
              <a:ext cx="4680533" cy="929959"/>
              <a:chOff x="894089" y="951845"/>
              <a:chExt cx="5468097" cy="1086438"/>
            </a:xfrm>
          </p:grpSpPr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EB7E4C7D-FB5B-8D1C-EE18-15782E1514AD}"/>
                  </a:ext>
                </a:extLst>
              </p:cNvPr>
              <p:cNvSpPr/>
              <p:nvPr/>
            </p:nvSpPr>
            <p:spPr>
              <a:xfrm>
                <a:off x="1130992" y="951845"/>
                <a:ext cx="1086438" cy="1086438"/>
              </a:xfrm>
              <a:prstGeom prst="ellipse">
                <a:avLst/>
              </a:prstGeom>
              <a:noFill/>
              <a:ln w="571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0"/>
              </a:p>
            </p:txBody>
          </p:sp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60C09577-AE4E-53D3-61D3-6CB5D499B095}"/>
                  </a:ext>
                </a:extLst>
              </p:cNvPr>
              <p:cNvSpPr/>
              <p:nvPr/>
            </p:nvSpPr>
            <p:spPr>
              <a:xfrm>
                <a:off x="1262717" y="1165285"/>
                <a:ext cx="5099469" cy="67776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622C0C79-0453-F471-B34A-C10F14AFA429}"/>
                  </a:ext>
                </a:extLst>
              </p:cNvPr>
              <p:cNvSpPr/>
              <p:nvPr/>
            </p:nvSpPr>
            <p:spPr>
              <a:xfrm>
                <a:off x="894089" y="1087412"/>
                <a:ext cx="780122" cy="780122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0"/>
              </a:p>
            </p:txBody>
          </p:sp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B788D053-7BBD-E5EC-9E58-29A4694F8DF7}"/>
                  </a:ext>
                </a:extLst>
              </p:cNvPr>
              <p:cNvSpPr txBox="1"/>
              <p:nvPr/>
            </p:nvSpPr>
            <p:spPr>
              <a:xfrm>
                <a:off x="1710857" y="1258815"/>
                <a:ext cx="4651328" cy="46743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2000" b="1"/>
                  <a:t>Greater legal certainty and fairness</a:t>
                </a:r>
                <a:endParaRPr lang="en-US"/>
              </a:p>
            </p:txBody>
          </p:sp>
        </p:grpSp>
        <p:pic>
          <p:nvPicPr>
            <p:cNvPr id="92" name="Picture 91">
              <a:extLst>
                <a:ext uri="{FF2B5EF4-FFF2-40B4-BE49-F238E27FC236}">
                  <a16:creationId xmlns:a16="http://schemas.microsoft.com/office/drawing/2014/main" id="{2FEDA69B-0C10-1396-B91D-9DB8756420A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485274" y="4416758"/>
              <a:ext cx="570309" cy="570309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E35356B6-65F0-1CC7-BA21-17AB529EDCC7}"/>
              </a:ext>
            </a:extLst>
          </p:cNvPr>
          <p:cNvGrpSpPr/>
          <p:nvPr/>
        </p:nvGrpSpPr>
        <p:grpSpPr>
          <a:xfrm>
            <a:off x="4721409" y="2743120"/>
            <a:ext cx="7470591" cy="929959"/>
            <a:chOff x="2820739" y="2092341"/>
            <a:chExt cx="7470591" cy="929959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56FCA47D-97A6-7616-94FB-BF38EBA575B5}"/>
                </a:ext>
              </a:extLst>
            </p:cNvPr>
            <p:cNvGrpSpPr/>
            <p:nvPr/>
          </p:nvGrpSpPr>
          <p:grpSpPr>
            <a:xfrm>
              <a:off x="2820739" y="2092341"/>
              <a:ext cx="7470591" cy="929959"/>
              <a:chOff x="894089" y="951845"/>
              <a:chExt cx="8727623" cy="1086438"/>
            </a:xfrm>
          </p:grpSpPr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E0EA0C44-B03C-6373-EE79-CE60C2DD3109}"/>
                  </a:ext>
                </a:extLst>
              </p:cNvPr>
              <p:cNvSpPr/>
              <p:nvPr/>
            </p:nvSpPr>
            <p:spPr>
              <a:xfrm>
                <a:off x="1130992" y="951845"/>
                <a:ext cx="1086438" cy="1086438"/>
              </a:xfrm>
              <a:prstGeom prst="ellipse">
                <a:avLst/>
              </a:prstGeom>
              <a:noFill/>
              <a:ln w="571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0"/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2D19C134-614C-062B-409F-3821AB1ABF2B}"/>
                  </a:ext>
                </a:extLst>
              </p:cNvPr>
              <p:cNvSpPr/>
              <p:nvPr/>
            </p:nvSpPr>
            <p:spPr>
              <a:xfrm>
                <a:off x="1262715" y="1165285"/>
                <a:ext cx="7819735" cy="67776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0"/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C7C69249-4AB4-CC24-A0F7-29738D5123B2}"/>
                  </a:ext>
                </a:extLst>
              </p:cNvPr>
              <p:cNvSpPr/>
              <p:nvPr/>
            </p:nvSpPr>
            <p:spPr>
              <a:xfrm>
                <a:off x="894089" y="1087412"/>
                <a:ext cx="780122" cy="780122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0"/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2AEC5DBB-7B84-77DE-2411-97F713C66D08}"/>
                  </a:ext>
                </a:extLst>
              </p:cNvPr>
              <p:cNvSpPr txBox="1"/>
              <p:nvPr/>
            </p:nvSpPr>
            <p:spPr>
              <a:xfrm>
                <a:off x="1706490" y="1267911"/>
                <a:ext cx="7915222" cy="46743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/>
                  <a:t> </a:t>
                </a:r>
                <a:r>
                  <a:rPr lang="en-US" sz="2000" b="1"/>
                  <a:t>Less errors and higher efficiency </a:t>
                </a:r>
                <a:r>
                  <a:rPr lang="en-US" sz="1400" i="1"/>
                  <a:t>(from 100 to 500 decrees in a day)</a:t>
                </a:r>
                <a:r>
                  <a:rPr lang="en-US" sz="2000" i="1"/>
                  <a:t> </a:t>
                </a:r>
                <a:endParaRPr lang="en-US" i="1"/>
              </a:p>
            </p:txBody>
          </p:sp>
        </p:grpSp>
        <p:pic>
          <p:nvPicPr>
            <p:cNvPr id="94" name="Picture 93">
              <a:extLst>
                <a:ext uri="{FF2B5EF4-FFF2-40B4-BE49-F238E27FC236}">
                  <a16:creationId xmlns:a16="http://schemas.microsoft.com/office/drawing/2014/main" id="{1FF2A720-C061-E1FB-6BB3-DFB3F4F7636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894945" y="2313516"/>
              <a:ext cx="482654" cy="482654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957CD18F-D5B2-E933-673F-C144457934BB}"/>
              </a:ext>
            </a:extLst>
          </p:cNvPr>
          <p:cNvGrpSpPr/>
          <p:nvPr/>
        </p:nvGrpSpPr>
        <p:grpSpPr>
          <a:xfrm>
            <a:off x="3850621" y="1189881"/>
            <a:ext cx="5777328" cy="929959"/>
            <a:chOff x="1457844" y="868594"/>
            <a:chExt cx="5777328" cy="929959"/>
          </a:xfrm>
        </p:grpSpPr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9BDEA9A4-CBFD-F86F-B825-E60C69D33D22}"/>
                </a:ext>
              </a:extLst>
            </p:cNvPr>
            <p:cNvGrpSpPr/>
            <p:nvPr/>
          </p:nvGrpSpPr>
          <p:grpSpPr>
            <a:xfrm>
              <a:off x="1457844" y="868594"/>
              <a:ext cx="5777328" cy="929959"/>
              <a:chOff x="894089" y="951845"/>
              <a:chExt cx="6749443" cy="1086438"/>
            </a:xfrm>
          </p:grpSpPr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DF91931C-F22F-997C-B871-BE4141BA5CBB}"/>
                  </a:ext>
                </a:extLst>
              </p:cNvPr>
              <p:cNvSpPr/>
              <p:nvPr/>
            </p:nvSpPr>
            <p:spPr>
              <a:xfrm>
                <a:off x="1130992" y="951845"/>
                <a:ext cx="1086438" cy="1086438"/>
              </a:xfrm>
              <a:prstGeom prst="ellipse">
                <a:avLst/>
              </a:prstGeom>
              <a:noFill/>
              <a:ln w="571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0"/>
              </a:p>
            </p:txBody>
          </p:sp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2C0FED13-F8E0-0CEE-BDD0-1472380841B5}"/>
                  </a:ext>
                </a:extLst>
              </p:cNvPr>
              <p:cNvSpPr/>
              <p:nvPr/>
            </p:nvSpPr>
            <p:spPr>
              <a:xfrm>
                <a:off x="1262716" y="1165285"/>
                <a:ext cx="6380815" cy="67776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0"/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DD9A5736-7483-D784-5E3F-C400BD76F148}"/>
                  </a:ext>
                </a:extLst>
              </p:cNvPr>
              <p:cNvSpPr/>
              <p:nvPr/>
            </p:nvSpPr>
            <p:spPr>
              <a:xfrm>
                <a:off x="894089" y="1087412"/>
                <a:ext cx="780122" cy="780122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0"/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9F42ADEB-0020-152F-44B7-860E2AC101B2}"/>
                  </a:ext>
                </a:extLst>
              </p:cNvPr>
              <p:cNvSpPr txBox="1"/>
              <p:nvPr/>
            </p:nvSpPr>
            <p:spPr>
              <a:xfrm>
                <a:off x="1730662" y="1259102"/>
                <a:ext cx="5912870" cy="46743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/>
                  <a:t>Reduction of </a:t>
                </a:r>
                <a:r>
                  <a:rPr lang="en-US" sz="2000" b="1"/>
                  <a:t>up to 100 days in resolution times</a:t>
                </a:r>
                <a:endParaRPr lang="en-US"/>
              </a:p>
            </p:txBody>
          </p:sp>
        </p:grpSp>
        <p:pic>
          <p:nvPicPr>
            <p:cNvPr id="97" name="Picture 96">
              <a:extLst>
                <a:ext uri="{FF2B5EF4-FFF2-40B4-BE49-F238E27FC236}">
                  <a16:creationId xmlns:a16="http://schemas.microsoft.com/office/drawing/2014/main" id="{E63DDE97-625D-BDAE-9C77-C24A27B5164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535075" y="1121169"/>
              <a:ext cx="513300" cy="513300"/>
            </a:xfrm>
            <a:prstGeom prst="rect">
              <a:avLst/>
            </a:prstGeom>
          </p:spPr>
        </p:pic>
      </p:grpSp>
      <p:sp>
        <p:nvSpPr>
          <p:cNvPr id="5" name="Title 57">
            <a:extLst>
              <a:ext uri="{FF2B5EF4-FFF2-40B4-BE49-F238E27FC236}">
                <a16:creationId xmlns:a16="http://schemas.microsoft.com/office/drawing/2014/main" id="{A3B1CBAA-EE9D-4637-7601-5145173E5A9F}"/>
              </a:ext>
            </a:extLst>
          </p:cNvPr>
          <p:cNvSpPr txBox="1">
            <a:spLocks/>
          </p:cNvSpPr>
          <p:nvPr/>
        </p:nvSpPr>
        <p:spPr>
          <a:xfrm>
            <a:off x="76515" y="-83862"/>
            <a:ext cx="9600885" cy="6206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>
                <a:solidFill>
                  <a:schemeClr val="accent5">
                    <a:lumMod val="50000"/>
                  </a:schemeClr>
                </a:solidFill>
              </a:rPr>
              <a:t>05    </a:t>
            </a:r>
            <a:r>
              <a:rPr lang="en-US" sz="2800"/>
              <a:t>The benefits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786347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2CA0AF-6298-8BBF-7ADB-659500E752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o 3">
            <a:extLst>
              <a:ext uri="{FF2B5EF4-FFF2-40B4-BE49-F238E27FC236}">
                <a16:creationId xmlns:a16="http://schemas.microsoft.com/office/drawing/2014/main" id="{35EA3AA7-2C06-99DB-12E7-FEC2B521244A}"/>
              </a:ext>
            </a:extLst>
          </p:cNvPr>
          <p:cNvGrpSpPr/>
          <p:nvPr/>
        </p:nvGrpSpPr>
        <p:grpSpPr>
          <a:xfrm>
            <a:off x="-31806" y="0"/>
            <a:ext cx="12223805" cy="7014617"/>
            <a:chOff x="-63610" y="-46759"/>
            <a:chExt cx="9207610" cy="5283777"/>
          </a:xfrm>
        </p:grpSpPr>
        <p:pic>
          <p:nvPicPr>
            <p:cNvPr id="5" name="Imagen 4" descr="Dibujo de un árbol&#10;&#10;Descripción generada automáticamente con confianza media">
              <a:extLst>
                <a:ext uri="{FF2B5EF4-FFF2-40B4-BE49-F238E27FC236}">
                  <a16:creationId xmlns:a16="http://schemas.microsoft.com/office/drawing/2014/main" id="{8867AC18-33E7-D922-853C-708EC153FB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10649" b="7816"/>
            <a:stretch/>
          </p:blipFill>
          <p:spPr>
            <a:xfrm flipH="1">
              <a:off x="-63609" y="0"/>
              <a:ext cx="9207609" cy="5237018"/>
            </a:xfrm>
            <a:prstGeom prst="rect">
              <a:avLst/>
            </a:prstGeom>
          </p:spPr>
        </p:pic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2A30819D-7106-D414-CC71-28262EC20570}"/>
                </a:ext>
              </a:extLst>
            </p:cNvPr>
            <p:cNvSpPr/>
            <p:nvPr/>
          </p:nvSpPr>
          <p:spPr>
            <a:xfrm>
              <a:off x="-63610" y="-46759"/>
              <a:ext cx="9207609" cy="5237018"/>
            </a:xfrm>
            <a:prstGeom prst="rect">
              <a:avLst/>
            </a:prstGeom>
            <a:gradFill>
              <a:gsLst>
                <a:gs pos="0">
                  <a:srgbClr val="334B9B"/>
                </a:gs>
                <a:gs pos="55000">
                  <a:srgbClr val="334B9B">
                    <a:alpha val="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0">
              <a:schemeClr val="dk1"/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200"/>
            </a:p>
          </p:txBody>
        </p:sp>
      </p:grpSp>
      <p:pic>
        <p:nvPicPr>
          <p:cNvPr id="7" name="Picture 4">
            <a:extLst>
              <a:ext uri="{FF2B5EF4-FFF2-40B4-BE49-F238E27FC236}">
                <a16:creationId xmlns:a16="http://schemas.microsoft.com/office/drawing/2014/main" id="{2DB0B71F-91AF-C2C5-51F3-3E695579549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2350" t="14254"/>
          <a:stretch/>
        </p:blipFill>
        <p:spPr>
          <a:xfrm>
            <a:off x="0" y="-3028"/>
            <a:ext cx="710094" cy="784124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26857C5A-73FE-FA8B-E6B6-430904DB9C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26857C5A-73FE-FA8B-E6B6-430904DB9C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57">
            <a:extLst>
              <a:ext uri="{FF2B5EF4-FFF2-40B4-BE49-F238E27FC236}">
                <a16:creationId xmlns:a16="http://schemas.microsoft.com/office/drawing/2014/main" id="{88A1722F-47FB-D39E-741B-278DBF4429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515" y="-83862"/>
            <a:ext cx="7725573" cy="620688"/>
          </a:xfrm>
        </p:spPr>
        <p:txBody>
          <a:bodyPr>
            <a:normAutofit/>
          </a:bodyPr>
          <a:lstStyle/>
          <a:p>
            <a:r>
              <a:rPr lang="es-ES" sz="2800">
                <a:solidFill>
                  <a:schemeClr val="accent5">
                    <a:lumMod val="50000"/>
                  </a:schemeClr>
                </a:solidFill>
              </a:rPr>
              <a:t>06    </a:t>
            </a:r>
            <a:r>
              <a:rPr lang="en-US" sz="2800"/>
              <a:t>An unstoppable process</a:t>
            </a:r>
            <a:endParaRPr lang="es-ES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B42008D7-253F-C7BA-CC13-BE58BA7CB7D3}"/>
              </a:ext>
            </a:extLst>
          </p:cNvPr>
          <p:cNvSpPr txBox="1">
            <a:spLocks/>
          </p:cNvSpPr>
          <p:nvPr/>
        </p:nvSpPr>
        <p:spPr>
          <a:xfrm>
            <a:off x="11361738" y="6381750"/>
            <a:ext cx="830262" cy="355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2BFCD6-C37F-4D4F-B6AD-71D3A36D527F}" type="slidenum">
              <a:rPr lang="es-ES" b="1" smtClean="0">
                <a:solidFill>
                  <a:schemeClr val="tx2"/>
                </a:solidFill>
              </a:rPr>
              <a:pPr/>
              <a:t>7</a:t>
            </a:fld>
            <a:endParaRPr lang="es-ES" b="1">
              <a:solidFill>
                <a:schemeClr val="tx2"/>
              </a:solidFill>
            </a:endParaRPr>
          </a:p>
        </p:txBody>
      </p:sp>
      <p:sp>
        <p:nvSpPr>
          <p:cNvPr id="13" name="TextBox 28">
            <a:extLst>
              <a:ext uri="{FF2B5EF4-FFF2-40B4-BE49-F238E27FC236}">
                <a16:creationId xmlns:a16="http://schemas.microsoft.com/office/drawing/2014/main" id="{CFBAC8C5-A515-00B9-AD97-6AB8A54F2A49}"/>
              </a:ext>
            </a:extLst>
          </p:cNvPr>
          <p:cNvSpPr txBox="1"/>
          <p:nvPr/>
        </p:nvSpPr>
        <p:spPr>
          <a:xfrm>
            <a:off x="990159" y="767340"/>
            <a:ext cx="691275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just">
              <a:buClr>
                <a:srgbClr val="074E8E"/>
              </a:buClr>
            </a:pPr>
            <a:r>
              <a:rPr lang="en-GB" sz="2400" b="1">
                <a:solidFill>
                  <a:srgbClr val="FFC836"/>
                </a:solidFill>
                <a:latin typeface="Open Sans"/>
                <a:cs typeface="Times New Roman" panose="02020603050405020304" pitchFamily="18" charset="0"/>
              </a:rPr>
              <a:t>More time for what it really matters</a:t>
            </a:r>
            <a:endParaRPr lang="en-GB" sz="2400">
              <a:solidFill>
                <a:srgbClr val="FFC836"/>
              </a:solidFill>
              <a:latin typeface="Open Sans"/>
              <a:cs typeface="Times New Roman" panose="02020603050405020304" pitchFamily="18" charset="0"/>
            </a:endParaRPr>
          </a:p>
          <a:p>
            <a:pPr marL="0" lvl="1" algn="just">
              <a:buClr>
                <a:srgbClr val="074E8E"/>
              </a:buClr>
            </a:pPr>
            <a:endParaRPr lang="en-GB" sz="1000">
              <a:solidFill>
                <a:srgbClr val="FFC836"/>
              </a:solidFill>
              <a:latin typeface="Open Sans"/>
              <a:cs typeface="Times New Roman" panose="02020603050405020304" pitchFamily="18" charset="0"/>
            </a:endParaRPr>
          </a:p>
          <a:p>
            <a:pPr marL="0" lvl="1" algn="just">
              <a:buClr>
                <a:srgbClr val="074E8E"/>
              </a:buClr>
            </a:pPr>
            <a:r>
              <a:rPr lang="en-GB" sz="2000" b="1">
                <a:solidFill>
                  <a:srgbClr val="FFFFFF"/>
                </a:solidFill>
                <a:latin typeface="Open Sans"/>
                <a:cs typeface="Times New Roman" panose="02020603050405020304" pitchFamily="18" charset="0"/>
              </a:rPr>
              <a:t>thanks to the use of automation and AI.</a:t>
            </a:r>
            <a:endParaRPr lang="es-ES" sz="2000">
              <a:solidFill>
                <a:srgbClr val="FFFFFF"/>
              </a:solidFill>
              <a:latin typeface="Open Sans"/>
              <a:cs typeface="Times New Roman" panose="02020603050405020304" pitchFamily="18" charset="0"/>
            </a:endParaRPr>
          </a:p>
        </p:txBody>
      </p:sp>
      <p:grpSp>
        <p:nvGrpSpPr>
          <p:cNvPr id="14" name="Grupo 56">
            <a:extLst>
              <a:ext uri="{FF2B5EF4-FFF2-40B4-BE49-F238E27FC236}">
                <a16:creationId xmlns:a16="http://schemas.microsoft.com/office/drawing/2014/main" id="{F931D80A-5AE7-5CA5-85D8-4379C3904A07}"/>
              </a:ext>
            </a:extLst>
          </p:cNvPr>
          <p:cNvGrpSpPr/>
          <p:nvPr/>
        </p:nvGrpSpPr>
        <p:grpSpPr>
          <a:xfrm>
            <a:off x="719138" y="905411"/>
            <a:ext cx="271021" cy="441873"/>
            <a:chOff x="4954831" y="2913331"/>
            <a:chExt cx="443599" cy="723246"/>
          </a:xfrm>
          <a:solidFill>
            <a:srgbClr val="FFFFFF"/>
          </a:solidFill>
        </p:grpSpPr>
        <p:sp>
          <p:nvSpPr>
            <p:cNvPr id="15" name="Google Shape;1715;p46">
              <a:extLst>
                <a:ext uri="{FF2B5EF4-FFF2-40B4-BE49-F238E27FC236}">
                  <a16:creationId xmlns:a16="http://schemas.microsoft.com/office/drawing/2014/main" id="{B95325AD-613B-4151-685E-BF9AFD047B64}"/>
                </a:ext>
              </a:extLst>
            </p:cNvPr>
            <p:cNvSpPr/>
            <p:nvPr/>
          </p:nvSpPr>
          <p:spPr>
            <a:xfrm>
              <a:off x="4954831" y="2913331"/>
              <a:ext cx="443599" cy="723246"/>
            </a:xfrm>
            <a:custGeom>
              <a:avLst/>
              <a:gdLst/>
              <a:ahLst/>
              <a:cxnLst/>
              <a:rect l="l" t="t" r="r" b="b"/>
              <a:pathLst>
                <a:path w="2631" h="4289" extrusionOk="0">
                  <a:moveTo>
                    <a:pt x="450" y="0"/>
                  </a:moveTo>
                  <a:cubicBezTo>
                    <a:pt x="357" y="0"/>
                    <a:pt x="264" y="35"/>
                    <a:pt x="193" y="106"/>
                  </a:cubicBezTo>
                  <a:lnTo>
                    <a:pt x="1" y="298"/>
                  </a:lnTo>
                  <a:lnTo>
                    <a:pt x="1591" y="1886"/>
                  </a:lnTo>
                  <a:cubicBezTo>
                    <a:pt x="1732" y="2029"/>
                    <a:pt x="1732" y="2258"/>
                    <a:pt x="1591" y="2401"/>
                  </a:cubicBezTo>
                  <a:lnTo>
                    <a:pt x="1" y="3991"/>
                  </a:lnTo>
                  <a:lnTo>
                    <a:pt x="193" y="4183"/>
                  </a:lnTo>
                  <a:cubicBezTo>
                    <a:pt x="264" y="4253"/>
                    <a:pt x="357" y="4288"/>
                    <a:pt x="450" y="4288"/>
                  </a:cubicBezTo>
                  <a:cubicBezTo>
                    <a:pt x="543" y="4288"/>
                    <a:pt x="636" y="4253"/>
                    <a:pt x="707" y="4183"/>
                  </a:cubicBezTo>
                  <a:lnTo>
                    <a:pt x="2488" y="2401"/>
                  </a:lnTo>
                  <a:cubicBezTo>
                    <a:pt x="2630" y="2260"/>
                    <a:pt x="2630" y="2029"/>
                    <a:pt x="2488" y="1888"/>
                  </a:cubicBezTo>
                  <a:lnTo>
                    <a:pt x="707" y="106"/>
                  </a:lnTo>
                  <a:cubicBezTo>
                    <a:pt x="636" y="35"/>
                    <a:pt x="543" y="0"/>
                    <a:pt x="45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6193A"/>
                </a:solidFill>
                <a:effectLst/>
                <a:uLnTx/>
                <a:uFillTx/>
                <a:latin typeface="Open Sans"/>
              </a:endParaRPr>
            </a:p>
          </p:txBody>
        </p:sp>
        <p:sp>
          <p:nvSpPr>
            <p:cNvPr id="16" name="Google Shape;1716;p46">
              <a:extLst>
                <a:ext uri="{FF2B5EF4-FFF2-40B4-BE49-F238E27FC236}">
                  <a16:creationId xmlns:a16="http://schemas.microsoft.com/office/drawing/2014/main" id="{AF4053F4-E9BF-489C-9B14-3921A9638AE0}"/>
                </a:ext>
              </a:extLst>
            </p:cNvPr>
            <p:cNvSpPr/>
            <p:nvPr/>
          </p:nvSpPr>
          <p:spPr>
            <a:xfrm>
              <a:off x="5007437" y="3158009"/>
              <a:ext cx="135052" cy="233889"/>
            </a:xfrm>
            <a:custGeom>
              <a:avLst/>
              <a:gdLst/>
              <a:ahLst/>
              <a:cxnLst/>
              <a:rect l="l" t="t" r="r" b="b"/>
              <a:pathLst>
                <a:path w="801" h="1387" extrusionOk="0">
                  <a:moveTo>
                    <a:pt x="176" y="0"/>
                  </a:moveTo>
                  <a:cubicBezTo>
                    <a:pt x="87" y="0"/>
                    <a:pt x="1" y="69"/>
                    <a:pt x="1" y="173"/>
                  </a:cubicBezTo>
                  <a:lnTo>
                    <a:pt x="1" y="1214"/>
                  </a:lnTo>
                  <a:cubicBezTo>
                    <a:pt x="1" y="1318"/>
                    <a:pt x="87" y="1386"/>
                    <a:pt x="176" y="1386"/>
                  </a:cubicBezTo>
                  <a:cubicBezTo>
                    <a:pt x="218" y="1386"/>
                    <a:pt x="262" y="1371"/>
                    <a:pt x="297" y="1335"/>
                  </a:cubicBezTo>
                  <a:lnTo>
                    <a:pt x="627" y="1006"/>
                  </a:lnTo>
                  <a:cubicBezTo>
                    <a:pt x="800" y="834"/>
                    <a:pt x="800" y="554"/>
                    <a:pt x="627" y="381"/>
                  </a:cubicBezTo>
                  <a:lnTo>
                    <a:pt x="297" y="51"/>
                  </a:lnTo>
                  <a:cubicBezTo>
                    <a:pt x="262" y="16"/>
                    <a:pt x="218" y="0"/>
                    <a:pt x="17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6193A"/>
                </a:solidFill>
                <a:effectLst/>
                <a:uLnTx/>
                <a:uFillTx/>
                <a:latin typeface="Open Sans"/>
              </a:endParaRPr>
            </a:p>
          </p:txBody>
        </p:sp>
      </p:grpSp>
      <p:pic>
        <p:nvPicPr>
          <p:cNvPr id="23" name="Picture 7">
            <a:extLst>
              <a:ext uri="{FF2B5EF4-FFF2-40B4-BE49-F238E27FC236}">
                <a16:creationId xmlns:a16="http://schemas.microsoft.com/office/drawing/2014/main" id="{204775E3-F37C-AABB-0734-B3DBC89340C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549" t="3920" b="-1"/>
          <a:stretch/>
        </p:blipFill>
        <p:spPr>
          <a:xfrm>
            <a:off x="9856662" y="145019"/>
            <a:ext cx="1235965" cy="308368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7B384CD1-B915-71CE-128C-0416411A82C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123277" y="145019"/>
            <a:ext cx="451082" cy="300721"/>
          </a:xfrm>
          <a:prstGeom prst="rect">
            <a:avLst/>
          </a:prstGeom>
        </p:spPr>
      </p:pic>
      <p:pic>
        <p:nvPicPr>
          <p:cNvPr id="28" name="Imagen 27">
            <a:extLst>
              <a:ext uri="{FF2B5EF4-FFF2-40B4-BE49-F238E27FC236}">
                <a16:creationId xmlns:a16="http://schemas.microsoft.com/office/drawing/2014/main" id="{4A34B594-AB37-866E-1D0A-C0D388114FB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605009" y="145019"/>
            <a:ext cx="451257" cy="300721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9032A6A9-EF19-C499-4184-CBB671BCF42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2776" y="6453815"/>
            <a:ext cx="2466449" cy="276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41851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9">
            <a:extLst>
              <a:ext uri="{FF2B5EF4-FFF2-40B4-BE49-F238E27FC236}">
                <a16:creationId xmlns:a16="http://schemas.microsoft.com/office/drawing/2014/main" id="{9924A9E7-E156-89E8-A90E-DBE3B1D88B05}"/>
              </a:ext>
            </a:extLst>
          </p:cNvPr>
          <p:cNvSpPr txBox="1">
            <a:spLocks/>
          </p:cNvSpPr>
          <p:nvPr/>
        </p:nvSpPr>
        <p:spPr>
          <a:xfrm>
            <a:off x="767230" y="2999644"/>
            <a:ext cx="3199128" cy="1832415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57175" indent="-257175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i="1">
                <a:solidFill>
                  <a:schemeClr val="bg1"/>
                </a:solidFill>
              </a:rPr>
              <a:t>Directorate-General for Digital Transformation of the Administration of Justice</a:t>
            </a:r>
          </a:p>
          <a:p>
            <a:pPr marL="0" indent="0">
              <a:buNone/>
            </a:pPr>
            <a:endParaRPr lang="es-ES" sz="1800" i="1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sz="1600">
                <a:solidFill>
                  <a:schemeClr val="bg1"/>
                </a:solidFill>
              </a:rPr>
              <a:t>Ministry of the Presidency, Justice and Parliamentary Relations</a:t>
            </a:r>
            <a:endParaRPr lang="es-E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0932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WpHxhW1g7IzdtHS1uQt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lff.M44OqM.AMO.ppA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DGTDAJ">
      <a:dk1>
        <a:srgbClr val="323C47"/>
      </a:dk1>
      <a:lt1>
        <a:srgbClr val="FFFFFF"/>
      </a:lt1>
      <a:dk2>
        <a:srgbClr val="074E8E"/>
      </a:dk2>
      <a:lt2>
        <a:srgbClr val="E3F1FD"/>
      </a:lt2>
      <a:accent1>
        <a:srgbClr val="FFC400"/>
      </a:accent1>
      <a:accent2>
        <a:srgbClr val="0B6B0D"/>
      </a:accent2>
      <a:accent3>
        <a:srgbClr val="137ADB"/>
      </a:accent3>
      <a:accent4>
        <a:srgbClr val="F05C1D"/>
      </a:accent4>
      <a:accent5>
        <a:srgbClr val="F90C27"/>
      </a:accent5>
      <a:accent6>
        <a:srgbClr val="00B050"/>
      </a:accent6>
      <a:hlink>
        <a:srgbClr val="137ADB"/>
      </a:hlink>
      <a:folHlink>
        <a:srgbClr val="F2F2F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55CF45C7AF5D94458F787839F6E5CC39" ma:contentTypeVersion="19" ma:contentTypeDescription="Crear nuevo documento." ma:contentTypeScope="" ma:versionID="c6bf733686987facfd14aa3c6f35adde">
  <xsd:schema xmlns:xsd="http://www.w3.org/2001/XMLSchema" xmlns:xs="http://www.w3.org/2001/XMLSchema" xmlns:p="http://schemas.microsoft.com/office/2006/metadata/properties" xmlns:ns2="ea934fdb-b29f-42c9-ae1c-338ea1a18969" xmlns:ns3="ecaf3d13-eccd-4968-9ffa-a5f90adc8fa2" targetNamespace="http://schemas.microsoft.com/office/2006/metadata/properties" ma:root="true" ma:fieldsID="cab99f5c7eca47d8af24ff7622e7e0aa" ns2:_="" ns3:_="">
    <xsd:import namespace="ea934fdb-b29f-42c9-ae1c-338ea1a18969"/>
    <xsd:import namespace="ecaf3d13-eccd-4968-9ffa-a5f90adc8fa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934fdb-b29f-42c9-ae1c-338ea1a1896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Etiquetas de imagen" ma:readOnly="false" ma:fieldId="{5cf76f15-5ced-4ddc-b409-7134ff3c332f}" ma:taxonomyMulti="true" ma:sspId="e6a0a35e-918f-4112-b964-36de408a7a5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caf3d13-eccd-4968-9ffa-a5f90adc8fa2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b75e9887-a300-496f-8a1f-dece99be8e15}" ma:internalName="TaxCatchAll" ma:showField="CatchAllData" ma:web="ecaf3d13-eccd-4968-9ffa-a5f90adc8fa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caf3d13-eccd-4968-9ffa-a5f90adc8fa2" xsi:nil="true"/>
    <lcf76f155ced4ddcb4097134ff3c332f xmlns="ea934fdb-b29f-42c9-ae1c-338ea1a18969">
      <Terms xmlns="http://schemas.microsoft.com/office/infopath/2007/PartnerControls"/>
    </lcf76f155ced4ddcb4097134ff3c332f>
    <SharedWithUsers xmlns="ecaf3d13-eccd-4968-9ffa-a5f90adc8fa2">
      <UserInfo>
        <DisplayName>FERNANDEZ MUÑOZ, ALEJANDRO</DisplayName>
        <AccountId>680</AccountId>
        <AccountType/>
      </UserInfo>
      <UserInfo>
        <DisplayName>SOLINO DIAZ, FABIOLA</DisplayName>
        <AccountId>716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2D04C130-3B1B-4DCB-83EF-CDCB5487D9ED}">
  <ds:schemaRefs>
    <ds:schemaRef ds:uri="ea934fdb-b29f-42c9-ae1c-338ea1a18969"/>
    <ds:schemaRef ds:uri="ecaf3d13-eccd-4968-9ffa-a5f90adc8fa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5413DDA-F7BF-4ED0-B418-B62B1429777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34BDE75-8990-445E-A5CF-3A4967CD8EEE}">
  <ds:schemaRefs>
    <ds:schemaRef ds:uri="ea934fdb-b29f-42c9-ae1c-338ea1a18969"/>
    <ds:schemaRef ds:uri="ecaf3d13-eccd-4968-9ffa-a5f90adc8fa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74</Words>
  <Application>Microsoft Office PowerPoint</Application>
  <PresentationFormat>Panorámica</PresentationFormat>
  <Paragraphs>62</Paragraphs>
  <Slides>8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15" baseType="lpstr">
      <vt:lpstr>Arial</vt:lpstr>
      <vt:lpstr>Calibri</vt:lpstr>
      <vt:lpstr>Calibri Light</vt:lpstr>
      <vt:lpstr>Open Sans</vt:lpstr>
      <vt:lpstr>Wingdings</vt:lpstr>
      <vt:lpstr>Tema de Office</vt:lpstr>
      <vt:lpstr>Diapositiva de think-cell</vt:lpstr>
      <vt:lpstr>Presentación de PowerPoint</vt:lpstr>
      <vt:lpstr>01    The scene</vt:lpstr>
      <vt:lpstr>Presentación de PowerPoint</vt:lpstr>
      <vt:lpstr>Presentación de PowerPoint</vt:lpstr>
      <vt:lpstr>Presentación de PowerPoint</vt:lpstr>
      <vt:lpstr>Presentación de PowerPoint</vt:lpstr>
      <vt:lpstr>06    An unstoppable process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resentaciones</dc:creator>
  <cp:lastModifiedBy>Óscar Palomo Díaz</cp:lastModifiedBy>
  <cp:revision>84</cp:revision>
  <cp:lastPrinted>2016-06-29T10:24:36Z</cp:lastPrinted>
  <dcterms:created xsi:type="dcterms:W3CDTF">2012-05-17T08:07:55Z</dcterms:created>
  <dcterms:modified xsi:type="dcterms:W3CDTF">2025-10-08T07:19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5CF45C7AF5D94458F787839F6E5CC39</vt:lpwstr>
  </property>
  <property fmtid="{D5CDD505-2E9C-101B-9397-08002B2CF9AE}" pid="3" name="MediaServiceImageTags">
    <vt:lpwstr/>
  </property>
</Properties>
</file>